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8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4"/>
    <p:sldMasterId id="2147483837" r:id="rId5"/>
    <p:sldMasterId id="2147483847" r:id="rId6"/>
    <p:sldMasterId id="2147483850" r:id="rId7"/>
    <p:sldMasterId id="2147483853" r:id="rId8"/>
    <p:sldMasterId id="2147483856" r:id="rId9"/>
    <p:sldMasterId id="2147483858" r:id="rId10"/>
    <p:sldMasterId id="2147483860" r:id="rId11"/>
  </p:sldMasterIdLst>
  <p:notesMasterIdLst>
    <p:notesMasterId r:id="rId22"/>
  </p:notesMasterIdLst>
  <p:handoutMasterIdLst>
    <p:handoutMasterId r:id="rId23"/>
  </p:handoutMasterIdLst>
  <p:sldIdLst>
    <p:sldId id="8543" r:id="rId12"/>
    <p:sldId id="7394" r:id="rId13"/>
    <p:sldId id="735" r:id="rId14"/>
    <p:sldId id="8680" r:id="rId15"/>
    <p:sldId id="8675" r:id="rId16"/>
    <p:sldId id="8681" r:id="rId17"/>
    <p:sldId id="8686" r:id="rId18"/>
    <p:sldId id="8676" r:id="rId19"/>
    <p:sldId id="8687" r:id="rId20"/>
    <p:sldId id="260" r:id="rId21"/>
  </p:sldIdLst>
  <p:sldSz cx="9906000" cy="6858000" type="A4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60935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21870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82805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43740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3046763" algn="l" defTabSz="121870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656112" algn="l" defTabSz="121870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4265466" algn="l" defTabSz="121870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874819" algn="l" defTabSz="121870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F91D1E36-26B9-47F9-9C17-E4CA85BE9D94}">
          <p14:sldIdLst>
            <p14:sldId id="8543"/>
            <p14:sldId id="7394"/>
            <p14:sldId id="735"/>
            <p14:sldId id="8680"/>
            <p14:sldId id="8675"/>
            <p14:sldId id="8681"/>
            <p14:sldId id="8686"/>
            <p14:sldId id="8676"/>
            <p14:sldId id="8687"/>
            <p14:sldId id="260"/>
          </p14:sldIdLst>
        </p14:section>
        <p14:section name="タイトルなしのセクション" id="{7746DD06-EA72-4380-AAD3-4D2E89785F33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to, Tomoyasu" initials="IT" lastIdx="3" clrIdx="0"/>
  <p:cmAuthor id="2" name="Takeishi, Akiko A." initials="TAA" lastIdx="1" clrIdx="1"/>
  <p:cmAuthor id="3" name="Yokota, Masaki" initials="YM" lastIdx="1" clrIdx="2">
    <p:extLst>
      <p:ext uri="{19B8F6BF-5375-455C-9EA6-DF929625EA0E}">
        <p15:presenceInfo xmlns:p15="http://schemas.microsoft.com/office/powerpoint/2012/main" userId="S-1-5-21-329068152-1454471165-1417001333-80166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144"/>
    <a:srgbClr val="0070C0"/>
    <a:srgbClr val="460073"/>
    <a:srgbClr val="079E07"/>
    <a:srgbClr val="969696"/>
    <a:srgbClr val="8BE1FF"/>
    <a:srgbClr val="0B5DA9"/>
    <a:srgbClr val="A100FF"/>
    <a:srgbClr val="5A5A5A"/>
    <a:srgbClr val="008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41" autoAdjust="0"/>
    <p:restoredTop sz="93475" autoAdjust="0"/>
  </p:normalViewPr>
  <p:slideViewPr>
    <p:cSldViewPr snapToObjects="1" showGuides="1">
      <p:cViewPr varScale="1">
        <p:scale>
          <a:sx n="68" d="100"/>
          <a:sy n="68" d="100"/>
        </p:scale>
        <p:origin x="1392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7218"/>
    </p:cViewPr>
  </p:sorterViewPr>
  <p:notesViewPr>
    <p:cSldViewPr snapToObjects="1" showGuides="1">
      <p:cViewPr varScale="1">
        <p:scale>
          <a:sx n="52" d="100"/>
          <a:sy n="52" d="100"/>
        </p:scale>
        <p:origin x="2946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>
                <a:latin typeface="Arial" pitchFamily="34" charset="0"/>
              </a:rPr>
              <a:pPr>
                <a:defRPr/>
              </a:pPr>
              <a:t>3/16/2020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>
                <a:latin typeface="Arial" pitchFamily="34" charset="0"/>
              </a:rPr>
              <a:pPr>
                <a:defRPr/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612C19A-B064-4A02-B1DD-2674A5B33712}" type="datetime1">
              <a:rPr lang="en-US" smtClean="0"/>
              <a:pPr>
                <a:defRPr/>
              </a:pPr>
              <a:t>3/16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E57817C-C749-40AE-A5FD-F6A74744A7F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Arial" pitchFamily="34" charset="0"/>
      </a:defRPr>
    </a:lvl1pPr>
    <a:lvl2pPr marL="60935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2pPr>
    <a:lvl3pPr marL="1218704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3pPr>
    <a:lvl4pPr marL="1828057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4pPr>
    <a:lvl5pPr marL="2437408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5pPr>
    <a:lvl6pPr marL="3046763" algn="l" defTabSz="12187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112" algn="l" defTabSz="12187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5466" algn="l" defTabSz="12187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4819" algn="l" defTabSz="12187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6251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6312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200150" y="1143000"/>
            <a:ext cx="44577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1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Slide_Top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9909871" cy="6856412"/>
          </a:xfrm>
          <a:prstGeom prst="rect">
            <a:avLst/>
          </a:prstGeom>
        </p:spPr>
      </p:pic>
      <p:sp>
        <p:nvSpPr>
          <p:cNvPr id="23" name="正方形/長方形 22"/>
          <p:cNvSpPr/>
          <p:nvPr userDrawn="1"/>
        </p:nvSpPr>
        <p:spPr>
          <a:xfrm>
            <a:off x="1" y="0"/>
            <a:ext cx="9909871" cy="6856412"/>
          </a:xfrm>
          <a:prstGeom prst="rect">
            <a:avLst/>
          </a:prstGeom>
          <a:gradFill>
            <a:gsLst>
              <a:gs pos="15000">
                <a:schemeClr val="accent3">
                  <a:alpha val="85000"/>
                </a:schemeClr>
              </a:gs>
              <a:gs pos="57000">
                <a:schemeClr val="accent3">
                  <a:lumMod val="100000"/>
                  <a:alpha val="1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1" name="Group 4"/>
          <p:cNvGrpSpPr>
            <a:grpSpLocks noChangeAspect="1"/>
          </p:cNvGrpSpPr>
          <p:nvPr userDrawn="1"/>
        </p:nvGrpSpPr>
        <p:grpSpPr bwMode="auto">
          <a:xfrm>
            <a:off x="507431" y="435471"/>
            <a:ext cx="3690132" cy="728585"/>
            <a:chOff x="391" y="226"/>
            <a:chExt cx="3146" cy="505"/>
          </a:xfrm>
        </p:grpSpPr>
        <p:sp>
          <p:nvSpPr>
            <p:cNvPr id="72" name="Freeform 71"/>
            <p:cNvSpPr>
              <a:spLocks/>
            </p:cNvSpPr>
            <p:nvPr/>
          </p:nvSpPr>
          <p:spPr bwMode="auto">
            <a:xfrm>
              <a:off x="1923" y="396"/>
              <a:ext cx="102" cy="257"/>
            </a:xfrm>
            <a:custGeom>
              <a:avLst/>
              <a:gdLst>
                <a:gd name="T0" fmla="*/ 34 w 43"/>
                <a:gd name="T1" fmla="*/ 109 h 109"/>
                <a:gd name="T2" fmla="*/ 13 w 43"/>
                <a:gd name="T3" fmla="*/ 89 h 109"/>
                <a:gd name="T4" fmla="*/ 13 w 43"/>
                <a:gd name="T5" fmla="*/ 33 h 109"/>
                <a:gd name="T6" fmla="*/ 0 w 43"/>
                <a:gd name="T7" fmla="*/ 33 h 109"/>
                <a:gd name="T8" fmla="*/ 0 w 43"/>
                <a:gd name="T9" fmla="*/ 25 h 109"/>
                <a:gd name="T10" fmla="*/ 13 w 43"/>
                <a:gd name="T11" fmla="*/ 25 h 109"/>
                <a:gd name="T12" fmla="*/ 13 w 43"/>
                <a:gd name="T13" fmla="*/ 6 h 109"/>
                <a:gd name="T14" fmla="*/ 21 w 43"/>
                <a:gd name="T15" fmla="*/ 0 h 109"/>
                <a:gd name="T16" fmla="*/ 21 w 43"/>
                <a:gd name="T17" fmla="*/ 25 h 109"/>
                <a:gd name="T18" fmla="*/ 43 w 43"/>
                <a:gd name="T19" fmla="*/ 25 h 109"/>
                <a:gd name="T20" fmla="*/ 43 w 43"/>
                <a:gd name="T21" fmla="*/ 33 h 109"/>
                <a:gd name="T22" fmla="*/ 21 w 43"/>
                <a:gd name="T23" fmla="*/ 33 h 109"/>
                <a:gd name="T24" fmla="*/ 21 w 43"/>
                <a:gd name="T25" fmla="*/ 86 h 109"/>
                <a:gd name="T26" fmla="*/ 35 w 43"/>
                <a:gd name="T27" fmla="*/ 101 h 109"/>
                <a:gd name="T28" fmla="*/ 43 w 43"/>
                <a:gd name="T29" fmla="*/ 99 h 109"/>
                <a:gd name="T30" fmla="*/ 43 w 43"/>
                <a:gd name="T31" fmla="*/ 108 h 109"/>
                <a:gd name="T32" fmla="*/ 34 w 43"/>
                <a:gd name="T3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109">
                  <a:moveTo>
                    <a:pt x="34" y="109"/>
                  </a:moveTo>
                  <a:cubicBezTo>
                    <a:pt x="20" y="109"/>
                    <a:pt x="13" y="103"/>
                    <a:pt x="13" y="8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21" y="95"/>
                    <a:pt x="25" y="101"/>
                    <a:pt x="35" y="101"/>
                  </a:cubicBezTo>
                  <a:cubicBezTo>
                    <a:pt x="38" y="101"/>
                    <a:pt x="40" y="100"/>
                    <a:pt x="43" y="99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0" y="109"/>
                    <a:pt x="37" y="109"/>
                    <a:pt x="34" y="109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3" name="Freeform 72"/>
            <p:cNvSpPr>
              <a:spLocks noEditPoints="1"/>
            </p:cNvSpPr>
            <p:nvPr/>
          </p:nvSpPr>
          <p:spPr bwMode="auto">
            <a:xfrm>
              <a:off x="2044" y="450"/>
              <a:ext cx="139" cy="203"/>
            </a:xfrm>
            <a:custGeom>
              <a:avLst/>
              <a:gdLst>
                <a:gd name="T0" fmla="*/ 11 w 59"/>
                <a:gd name="T1" fmla="*/ 34 h 86"/>
                <a:gd name="T2" fmla="*/ 11 w 59"/>
                <a:gd name="T3" fmla="*/ 42 h 86"/>
                <a:gd name="T4" fmla="*/ 42 w 59"/>
                <a:gd name="T5" fmla="*/ 78 h 86"/>
                <a:gd name="T6" fmla="*/ 58 w 59"/>
                <a:gd name="T7" fmla="*/ 76 h 86"/>
                <a:gd name="T8" fmla="*/ 58 w 59"/>
                <a:gd name="T9" fmla="*/ 84 h 86"/>
                <a:gd name="T10" fmla="*/ 40 w 59"/>
                <a:gd name="T11" fmla="*/ 86 h 86"/>
                <a:gd name="T12" fmla="*/ 0 w 59"/>
                <a:gd name="T13" fmla="*/ 41 h 86"/>
                <a:gd name="T14" fmla="*/ 32 w 59"/>
                <a:gd name="T15" fmla="*/ 0 h 86"/>
                <a:gd name="T16" fmla="*/ 59 w 59"/>
                <a:gd name="T17" fmla="*/ 29 h 86"/>
                <a:gd name="T18" fmla="*/ 59 w 59"/>
                <a:gd name="T19" fmla="*/ 34 h 86"/>
                <a:gd name="T20" fmla="*/ 11 w 59"/>
                <a:gd name="T21" fmla="*/ 34 h 86"/>
                <a:gd name="T22" fmla="*/ 32 w 59"/>
                <a:gd name="T23" fmla="*/ 8 h 86"/>
                <a:gd name="T24" fmla="*/ 12 w 59"/>
                <a:gd name="T25" fmla="*/ 26 h 86"/>
                <a:gd name="T26" fmla="*/ 49 w 59"/>
                <a:gd name="T27" fmla="*/ 26 h 86"/>
                <a:gd name="T28" fmla="*/ 32 w 59"/>
                <a:gd name="T29" fmla="*/ 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86">
                  <a:moveTo>
                    <a:pt x="11" y="34"/>
                  </a:moveTo>
                  <a:cubicBezTo>
                    <a:pt x="11" y="37"/>
                    <a:pt x="11" y="40"/>
                    <a:pt x="11" y="42"/>
                  </a:cubicBezTo>
                  <a:cubicBezTo>
                    <a:pt x="11" y="63"/>
                    <a:pt x="20" y="78"/>
                    <a:pt x="42" y="78"/>
                  </a:cubicBezTo>
                  <a:cubicBezTo>
                    <a:pt x="47" y="78"/>
                    <a:pt x="53" y="77"/>
                    <a:pt x="58" y="76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2" y="85"/>
                    <a:pt x="46" y="86"/>
                    <a:pt x="40" y="86"/>
                  </a:cubicBezTo>
                  <a:cubicBezTo>
                    <a:pt x="12" y="86"/>
                    <a:pt x="0" y="66"/>
                    <a:pt x="0" y="41"/>
                  </a:cubicBezTo>
                  <a:cubicBezTo>
                    <a:pt x="0" y="20"/>
                    <a:pt x="7" y="0"/>
                    <a:pt x="32" y="0"/>
                  </a:cubicBezTo>
                  <a:cubicBezTo>
                    <a:pt x="49" y="0"/>
                    <a:pt x="59" y="13"/>
                    <a:pt x="59" y="29"/>
                  </a:cubicBezTo>
                  <a:cubicBezTo>
                    <a:pt x="59" y="34"/>
                    <a:pt x="59" y="34"/>
                    <a:pt x="59" y="34"/>
                  </a:cubicBezTo>
                  <a:lnTo>
                    <a:pt x="11" y="34"/>
                  </a:lnTo>
                  <a:close/>
                  <a:moveTo>
                    <a:pt x="32" y="8"/>
                  </a:moveTo>
                  <a:cubicBezTo>
                    <a:pt x="20" y="8"/>
                    <a:pt x="14" y="15"/>
                    <a:pt x="12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16"/>
                    <a:pt x="41" y="8"/>
                    <a:pt x="32" y="8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4" name="Freeform 7"/>
            <p:cNvSpPr>
              <a:spLocks/>
            </p:cNvSpPr>
            <p:nvPr/>
          </p:nvSpPr>
          <p:spPr bwMode="auto">
            <a:xfrm>
              <a:off x="2212" y="450"/>
              <a:ext cx="134" cy="203"/>
            </a:xfrm>
            <a:custGeom>
              <a:avLst/>
              <a:gdLst>
                <a:gd name="T0" fmla="*/ 46 w 57"/>
                <a:gd name="T1" fmla="*/ 26 h 86"/>
                <a:gd name="T2" fmla="*/ 31 w 57"/>
                <a:gd name="T3" fmla="*/ 8 h 86"/>
                <a:gd name="T4" fmla="*/ 10 w 57"/>
                <a:gd name="T5" fmla="*/ 40 h 86"/>
                <a:gd name="T6" fmla="*/ 42 w 57"/>
                <a:gd name="T7" fmla="*/ 78 h 86"/>
                <a:gd name="T8" fmla="*/ 54 w 57"/>
                <a:gd name="T9" fmla="*/ 76 h 86"/>
                <a:gd name="T10" fmla="*/ 54 w 57"/>
                <a:gd name="T11" fmla="*/ 85 h 86"/>
                <a:gd name="T12" fmla="*/ 40 w 57"/>
                <a:gd name="T13" fmla="*/ 86 h 86"/>
                <a:gd name="T14" fmla="*/ 0 w 57"/>
                <a:gd name="T15" fmla="*/ 42 h 86"/>
                <a:gd name="T16" fmla="*/ 31 w 57"/>
                <a:gd name="T17" fmla="*/ 0 h 86"/>
                <a:gd name="T18" fmla="*/ 57 w 57"/>
                <a:gd name="T19" fmla="*/ 26 h 86"/>
                <a:gd name="T20" fmla="*/ 46 w 57"/>
                <a:gd name="T21" fmla="*/ 2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86">
                  <a:moveTo>
                    <a:pt x="46" y="26"/>
                  </a:moveTo>
                  <a:cubicBezTo>
                    <a:pt x="46" y="16"/>
                    <a:pt x="41" y="8"/>
                    <a:pt x="31" y="8"/>
                  </a:cubicBezTo>
                  <a:cubicBezTo>
                    <a:pt x="14" y="8"/>
                    <a:pt x="10" y="27"/>
                    <a:pt x="10" y="40"/>
                  </a:cubicBezTo>
                  <a:cubicBezTo>
                    <a:pt x="10" y="61"/>
                    <a:pt x="19" y="78"/>
                    <a:pt x="42" y="78"/>
                  </a:cubicBezTo>
                  <a:cubicBezTo>
                    <a:pt x="46" y="78"/>
                    <a:pt x="50" y="77"/>
                    <a:pt x="54" y="76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0" y="86"/>
                    <a:pt x="45" y="86"/>
                    <a:pt x="40" y="86"/>
                  </a:cubicBezTo>
                  <a:cubicBezTo>
                    <a:pt x="12" y="86"/>
                    <a:pt x="0" y="68"/>
                    <a:pt x="0" y="42"/>
                  </a:cubicBezTo>
                  <a:cubicBezTo>
                    <a:pt x="0" y="21"/>
                    <a:pt x="7" y="0"/>
                    <a:pt x="31" y="0"/>
                  </a:cubicBezTo>
                  <a:cubicBezTo>
                    <a:pt x="47" y="0"/>
                    <a:pt x="57" y="9"/>
                    <a:pt x="57" y="26"/>
                  </a:cubicBezTo>
                  <a:lnTo>
                    <a:pt x="46" y="26"/>
                  </a:ln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5" name="Freeform 8"/>
            <p:cNvSpPr>
              <a:spLocks/>
            </p:cNvSpPr>
            <p:nvPr/>
          </p:nvSpPr>
          <p:spPr bwMode="auto">
            <a:xfrm>
              <a:off x="2384" y="367"/>
              <a:ext cx="137" cy="281"/>
            </a:xfrm>
            <a:custGeom>
              <a:avLst/>
              <a:gdLst>
                <a:gd name="T0" fmla="*/ 50 w 58"/>
                <a:gd name="T1" fmla="*/ 119 h 119"/>
                <a:gd name="T2" fmla="*/ 50 w 58"/>
                <a:gd name="T3" fmla="*/ 67 h 119"/>
                <a:gd name="T4" fmla="*/ 35 w 58"/>
                <a:gd name="T5" fmla="*/ 43 h 119"/>
                <a:gd name="T6" fmla="*/ 11 w 58"/>
                <a:gd name="T7" fmla="*/ 70 h 119"/>
                <a:gd name="T8" fmla="*/ 9 w 58"/>
                <a:gd name="T9" fmla="*/ 88 h 119"/>
                <a:gd name="T10" fmla="*/ 9 w 58"/>
                <a:gd name="T11" fmla="*/ 119 h 119"/>
                <a:gd name="T12" fmla="*/ 0 w 58"/>
                <a:gd name="T13" fmla="*/ 119 h 119"/>
                <a:gd name="T14" fmla="*/ 0 w 58"/>
                <a:gd name="T15" fmla="*/ 0 h 119"/>
                <a:gd name="T16" fmla="*/ 9 w 58"/>
                <a:gd name="T17" fmla="*/ 0 h 119"/>
                <a:gd name="T18" fmla="*/ 9 w 58"/>
                <a:gd name="T19" fmla="*/ 57 h 119"/>
                <a:gd name="T20" fmla="*/ 9 w 58"/>
                <a:gd name="T21" fmla="*/ 57 h 119"/>
                <a:gd name="T22" fmla="*/ 37 w 58"/>
                <a:gd name="T23" fmla="*/ 35 h 119"/>
                <a:gd name="T24" fmla="*/ 45 w 58"/>
                <a:gd name="T25" fmla="*/ 37 h 119"/>
                <a:gd name="T26" fmla="*/ 58 w 58"/>
                <a:gd name="T27" fmla="*/ 58 h 119"/>
                <a:gd name="T28" fmla="*/ 58 w 58"/>
                <a:gd name="T29" fmla="*/ 119 h 119"/>
                <a:gd name="T30" fmla="*/ 50 w 58"/>
                <a:gd name="T31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119">
                  <a:moveTo>
                    <a:pt x="50" y="119"/>
                  </a:moveTo>
                  <a:cubicBezTo>
                    <a:pt x="50" y="67"/>
                    <a:pt x="50" y="67"/>
                    <a:pt x="50" y="67"/>
                  </a:cubicBezTo>
                  <a:cubicBezTo>
                    <a:pt x="50" y="57"/>
                    <a:pt x="49" y="43"/>
                    <a:pt x="35" y="43"/>
                  </a:cubicBezTo>
                  <a:cubicBezTo>
                    <a:pt x="22" y="43"/>
                    <a:pt x="14" y="59"/>
                    <a:pt x="11" y="70"/>
                  </a:cubicBezTo>
                  <a:cubicBezTo>
                    <a:pt x="10" y="76"/>
                    <a:pt x="9" y="82"/>
                    <a:pt x="9" y="88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4" y="43"/>
                    <a:pt x="21" y="35"/>
                    <a:pt x="37" y="35"/>
                  </a:cubicBezTo>
                  <a:cubicBezTo>
                    <a:pt x="39" y="35"/>
                    <a:pt x="42" y="36"/>
                    <a:pt x="45" y="37"/>
                  </a:cubicBezTo>
                  <a:cubicBezTo>
                    <a:pt x="54" y="40"/>
                    <a:pt x="58" y="48"/>
                    <a:pt x="58" y="58"/>
                  </a:cubicBezTo>
                  <a:cubicBezTo>
                    <a:pt x="58" y="119"/>
                    <a:pt x="58" y="119"/>
                    <a:pt x="58" y="119"/>
                  </a:cubicBezTo>
                  <a:lnTo>
                    <a:pt x="50" y="119"/>
                  </a:ln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6" name="Freeform 9"/>
            <p:cNvSpPr>
              <a:spLocks/>
            </p:cNvSpPr>
            <p:nvPr/>
          </p:nvSpPr>
          <p:spPr bwMode="auto">
            <a:xfrm>
              <a:off x="2564" y="450"/>
              <a:ext cx="137" cy="198"/>
            </a:xfrm>
            <a:custGeom>
              <a:avLst/>
              <a:gdLst>
                <a:gd name="T0" fmla="*/ 50 w 58"/>
                <a:gd name="T1" fmla="*/ 84 h 84"/>
                <a:gd name="T2" fmla="*/ 50 w 58"/>
                <a:gd name="T3" fmla="*/ 32 h 84"/>
                <a:gd name="T4" fmla="*/ 35 w 58"/>
                <a:gd name="T5" fmla="*/ 8 h 84"/>
                <a:gd name="T6" fmla="*/ 12 w 58"/>
                <a:gd name="T7" fmla="*/ 35 h 84"/>
                <a:gd name="T8" fmla="*/ 9 w 58"/>
                <a:gd name="T9" fmla="*/ 53 h 84"/>
                <a:gd name="T10" fmla="*/ 9 w 58"/>
                <a:gd name="T11" fmla="*/ 84 h 84"/>
                <a:gd name="T12" fmla="*/ 0 w 58"/>
                <a:gd name="T13" fmla="*/ 84 h 84"/>
                <a:gd name="T14" fmla="*/ 0 w 58"/>
                <a:gd name="T15" fmla="*/ 2 h 84"/>
                <a:gd name="T16" fmla="*/ 9 w 58"/>
                <a:gd name="T17" fmla="*/ 2 h 84"/>
                <a:gd name="T18" fmla="*/ 9 w 58"/>
                <a:gd name="T19" fmla="*/ 22 h 84"/>
                <a:gd name="T20" fmla="*/ 9 w 58"/>
                <a:gd name="T21" fmla="*/ 22 h 84"/>
                <a:gd name="T22" fmla="*/ 37 w 58"/>
                <a:gd name="T23" fmla="*/ 0 h 84"/>
                <a:gd name="T24" fmla="*/ 45 w 58"/>
                <a:gd name="T25" fmla="*/ 2 h 84"/>
                <a:gd name="T26" fmla="*/ 58 w 58"/>
                <a:gd name="T27" fmla="*/ 23 h 84"/>
                <a:gd name="T28" fmla="*/ 58 w 58"/>
                <a:gd name="T29" fmla="*/ 84 h 84"/>
                <a:gd name="T30" fmla="*/ 50 w 58"/>
                <a:gd name="T3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84">
                  <a:moveTo>
                    <a:pt x="50" y="84"/>
                  </a:moveTo>
                  <a:cubicBezTo>
                    <a:pt x="50" y="32"/>
                    <a:pt x="50" y="32"/>
                    <a:pt x="50" y="32"/>
                  </a:cubicBezTo>
                  <a:cubicBezTo>
                    <a:pt x="50" y="22"/>
                    <a:pt x="49" y="8"/>
                    <a:pt x="35" y="8"/>
                  </a:cubicBezTo>
                  <a:cubicBezTo>
                    <a:pt x="22" y="8"/>
                    <a:pt x="14" y="24"/>
                    <a:pt x="12" y="35"/>
                  </a:cubicBezTo>
                  <a:cubicBezTo>
                    <a:pt x="10" y="41"/>
                    <a:pt x="9" y="47"/>
                    <a:pt x="9" y="53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4" y="8"/>
                    <a:pt x="21" y="0"/>
                    <a:pt x="37" y="0"/>
                  </a:cubicBezTo>
                  <a:cubicBezTo>
                    <a:pt x="40" y="0"/>
                    <a:pt x="42" y="1"/>
                    <a:pt x="45" y="2"/>
                  </a:cubicBezTo>
                  <a:cubicBezTo>
                    <a:pt x="54" y="5"/>
                    <a:pt x="58" y="14"/>
                    <a:pt x="58" y="23"/>
                  </a:cubicBezTo>
                  <a:cubicBezTo>
                    <a:pt x="58" y="84"/>
                    <a:pt x="58" y="84"/>
                    <a:pt x="58" y="84"/>
                  </a:cubicBezTo>
                  <a:lnTo>
                    <a:pt x="50" y="84"/>
                  </a:ln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7" name="Freeform 10"/>
            <p:cNvSpPr>
              <a:spLocks noEditPoints="1"/>
            </p:cNvSpPr>
            <p:nvPr/>
          </p:nvSpPr>
          <p:spPr bwMode="auto">
            <a:xfrm>
              <a:off x="2745" y="450"/>
              <a:ext cx="161" cy="203"/>
            </a:xfrm>
            <a:custGeom>
              <a:avLst/>
              <a:gdLst>
                <a:gd name="T0" fmla="*/ 34 w 68"/>
                <a:gd name="T1" fmla="*/ 86 h 86"/>
                <a:gd name="T2" fmla="*/ 0 w 68"/>
                <a:gd name="T3" fmla="*/ 43 h 86"/>
                <a:gd name="T4" fmla="*/ 34 w 68"/>
                <a:gd name="T5" fmla="*/ 0 h 86"/>
                <a:gd name="T6" fmla="*/ 68 w 68"/>
                <a:gd name="T7" fmla="*/ 43 h 86"/>
                <a:gd name="T8" fmla="*/ 34 w 68"/>
                <a:gd name="T9" fmla="*/ 86 h 86"/>
                <a:gd name="T10" fmla="*/ 33 w 68"/>
                <a:gd name="T11" fmla="*/ 8 h 86"/>
                <a:gd name="T12" fmla="*/ 10 w 68"/>
                <a:gd name="T13" fmla="*/ 44 h 86"/>
                <a:gd name="T14" fmla="*/ 33 w 68"/>
                <a:gd name="T15" fmla="*/ 78 h 86"/>
                <a:gd name="T16" fmla="*/ 57 w 68"/>
                <a:gd name="T17" fmla="*/ 44 h 86"/>
                <a:gd name="T18" fmla="*/ 33 w 68"/>
                <a:gd name="T19" fmla="*/ 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86">
                  <a:moveTo>
                    <a:pt x="34" y="86"/>
                  </a:moveTo>
                  <a:cubicBezTo>
                    <a:pt x="9" y="86"/>
                    <a:pt x="0" y="65"/>
                    <a:pt x="0" y="43"/>
                  </a:cubicBezTo>
                  <a:cubicBezTo>
                    <a:pt x="0" y="21"/>
                    <a:pt x="9" y="0"/>
                    <a:pt x="34" y="0"/>
                  </a:cubicBezTo>
                  <a:cubicBezTo>
                    <a:pt x="59" y="0"/>
                    <a:pt x="68" y="22"/>
                    <a:pt x="68" y="43"/>
                  </a:cubicBezTo>
                  <a:cubicBezTo>
                    <a:pt x="68" y="65"/>
                    <a:pt x="59" y="86"/>
                    <a:pt x="34" y="86"/>
                  </a:cubicBezTo>
                  <a:close/>
                  <a:moveTo>
                    <a:pt x="33" y="8"/>
                  </a:moveTo>
                  <a:cubicBezTo>
                    <a:pt x="14" y="8"/>
                    <a:pt x="10" y="29"/>
                    <a:pt x="10" y="44"/>
                  </a:cubicBezTo>
                  <a:cubicBezTo>
                    <a:pt x="10" y="60"/>
                    <a:pt x="14" y="78"/>
                    <a:pt x="33" y="78"/>
                  </a:cubicBezTo>
                  <a:cubicBezTo>
                    <a:pt x="53" y="78"/>
                    <a:pt x="57" y="60"/>
                    <a:pt x="57" y="44"/>
                  </a:cubicBezTo>
                  <a:cubicBezTo>
                    <a:pt x="57" y="29"/>
                    <a:pt x="53" y="8"/>
                    <a:pt x="33" y="8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8" name="Rectangle 11"/>
            <p:cNvSpPr>
              <a:spLocks noChangeArrowheads="1"/>
            </p:cNvSpPr>
            <p:nvPr/>
          </p:nvSpPr>
          <p:spPr bwMode="auto">
            <a:xfrm>
              <a:off x="2941" y="367"/>
              <a:ext cx="22" cy="281"/>
            </a:xfrm>
            <a:prstGeom prst="rect">
              <a:avLst/>
            </a:pr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9" name="Freeform 12"/>
            <p:cNvSpPr>
              <a:spLocks noEditPoints="1"/>
            </p:cNvSpPr>
            <p:nvPr/>
          </p:nvSpPr>
          <p:spPr bwMode="auto">
            <a:xfrm>
              <a:off x="3008" y="450"/>
              <a:ext cx="160" cy="203"/>
            </a:xfrm>
            <a:custGeom>
              <a:avLst/>
              <a:gdLst>
                <a:gd name="T0" fmla="*/ 34 w 68"/>
                <a:gd name="T1" fmla="*/ 86 h 86"/>
                <a:gd name="T2" fmla="*/ 0 w 68"/>
                <a:gd name="T3" fmla="*/ 43 h 86"/>
                <a:gd name="T4" fmla="*/ 34 w 68"/>
                <a:gd name="T5" fmla="*/ 0 h 86"/>
                <a:gd name="T6" fmla="*/ 68 w 68"/>
                <a:gd name="T7" fmla="*/ 43 h 86"/>
                <a:gd name="T8" fmla="*/ 34 w 68"/>
                <a:gd name="T9" fmla="*/ 86 h 86"/>
                <a:gd name="T10" fmla="*/ 34 w 68"/>
                <a:gd name="T11" fmla="*/ 8 h 86"/>
                <a:gd name="T12" fmla="*/ 11 w 68"/>
                <a:gd name="T13" fmla="*/ 44 h 86"/>
                <a:gd name="T14" fmla="*/ 34 w 68"/>
                <a:gd name="T15" fmla="*/ 78 h 86"/>
                <a:gd name="T16" fmla="*/ 57 w 68"/>
                <a:gd name="T17" fmla="*/ 44 h 86"/>
                <a:gd name="T18" fmla="*/ 34 w 68"/>
                <a:gd name="T19" fmla="*/ 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86">
                  <a:moveTo>
                    <a:pt x="34" y="86"/>
                  </a:moveTo>
                  <a:cubicBezTo>
                    <a:pt x="9" y="86"/>
                    <a:pt x="0" y="65"/>
                    <a:pt x="0" y="43"/>
                  </a:cubicBezTo>
                  <a:cubicBezTo>
                    <a:pt x="0" y="21"/>
                    <a:pt x="9" y="0"/>
                    <a:pt x="34" y="0"/>
                  </a:cubicBezTo>
                  <a:cubicBezTo>
                    <a:pt x="59" y="0"/>
                    <a:pt x="68" y="22"/>
                    <a:pt x="68" y="43"/>
                  </a:cubicBezTo>
                  <a:cubicBezTo>
                    <a:pt x="68" y="65"/>
                    <a:pt x="59" y="86"/>
                    <a:pt x="34" y="86"/>
                  </a:cubicBezTo>
                  <a:close/>
                  <a:moveTo>
                    <a:pt x="34" y="8"/>
                  </a:moveTo>
                  <a:cubicBezTo>
                    <a:pt x="14" y="8"/>
                    <a:pt x="11" y="29"/>
                    <a:pt x="11" y="44"/>
                  </a:cubicBezTo>
                  <a:cubicBezTo>
                    <a:pt x="11" y="60"/>
                    <a:pt x="14" y="78"/>
                    <a:pt x="34" y="78"/>
                  </a:cubicBezTo>
                  <a:cubicBezTo>
                    <a:pt x="53" y="78"/>
                    <a:pt x="57" y="60"/>
                    <a:pt x="57" y="44"/>
                  </a:cubicBezTo>
                  <a:cubicBezTo>
                    <a:pt x="57" y="29"/>
                    <a:pt x="53" y="8"/>
                    <a:pt x="34" y="8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80" name="Freeform 13"/>
            <p:cNvSpPr>
              <a:spLocks noEditPoints="1"/>
            </p:cNvSpPr>
            <p:nvPr/>
          </p:nvSpPr>
          <p:spPr bwMode="auto">
            <a:xfrm>
              <a:off x="3197" y="450"/>
              <a:ext cx="144" cy="281"/>
            </a:xfrm>
            <a:custGeom>
              <a:avLst/>
              <a:gdLst>
                <a:gd name="T0" fmla="*/ 26 w 61"/>
                <a:gd name="T1" fmla="*/ 119 h 119"/>
                <a:gd name="T2" fmla="*/ 5 w 61"/>
                <a:gd name="T3" fmla="*/ 116 h 119"/>
                <a:gd name="T4" fmla="*/ 5 w 61"/>
                <a:gd name="T5" fmla="*/ 107 h 119"/>
                <a:gd name="T6" fmla="*/ 23 w 61"/>
                <a:gd name="T7" fmla="*/ 110 h 119"/>
                <a:gd name="T8" fmla="*/ 52 w 61"/>
                <a:gd name="T9" fmla="*/ 83 h 119"/>
                <a:gd name="T10" fmla="*/ 52 w 61"/>
                <a:gd name="T11" fmla="*/ 67 h 119"/>
                <a:gd name="T12" fmla="*/ 52 w 61"/>
                <a:gd name="T13" fmla="*/ 67 h 119"/>
                <a:gd name="T14" fmla="*/ 29 w 61"/>
                <a:gd name="T15" fmla="*/ 84 h 119"/>
                <a:gd name="T16" fmla="*/ 0 w 61"/>
                <a:gd name="T17" fmla="*/ 43 h 119"/>
                <a:gd name="T18" fmla="*/ 29 w 61"/>
                <a:gd name="T19" fmla="*/ 0 h 119"/>
                <a:gd name="T20" fmla="*/ 52 w 61"/>
                <a:gd name="T21" fmla="*/ 17 h 119"/>
                <a:gd name="T22" fmla="*/ 52 w 61"/>
                <a:gd name="T23" fmla="*/ 17 h 119"/>
                <a:gd name="T24" fmla="*/ 52 w 61"/>
                <a:gd name="T25" fmla="*/ 2 h 119"/>
                <a:gd name="T26" fmla="*/ 61 w 61"/>
                <a:gd name="T27" fmla="*/ 2 h 119"/>
                <a:gd name="T28" fmla="*/ 61 w 61"/>
                <a:gd name="T29" fmla="*/ 82 h 119"/>
                <a:gd name="T30" fmla="*/ 26 w 61"/>
                <a:gd name="T31" fmla="*/ 119 h 119"/>
                <a:gd name="T32" fmla="*/ 30 w 61"/>
                <a:gd name="T33" fmla="*/ 8 h 119"/>
                <a:gd name="T34" fmla="*/ 10 w 61"/>
                <a:gd name="T35" fmla="*/ 44 h 119"/>
                <a:gd name="T36" fmla="*/ 30 w 61"/>
                <a:gd name="T37" fmla="*/ 76 h 119"/>
                <a:gd name="T38" fmla="*/ 52 w 61"/>
                <a:gd name="T39" fmla="*/ 42 h 119"/>
                <a:gd name="T40" fmla="*/ 30 w 61"/>
                <a:gd name="T41" fmla="*/ 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119">
                  <a:moveTo>
                    <a:pt x="26" y="119"/>
                  </a:moveTo>
                  <a:cubicBezTo>
                    <a:pt x="19" y="119"/>
                    <a:pt x="12" y="118"/>
                    <a:pt x="5" y="116"/>
                  </a:cubicBezTo>
                  <a:cubicBezTo>
                    <a:pt x="5" y="107"/>
                    <a:pt x="5" y="107"/>
                    <a:pt x="5" y="107"/>
                  </a:cubicBezTo>
                  <a:cubicBezTo>
                    <a:pt x="11" y="109"/>
                    <a:pt x="17" y="110"/>
                    <a:pt x="23" y="110"/>
                  </a:cubicBezTo>
                  <a:cubicBezTo>
                    <a:pt x="43" y="110"/>
                    <a:pt x="52" y="103"/>
                    <a:pt x="52" y="83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49" y="78"/>
                    <a:pt x="40" y="84"/>
                    <a:pt x="29" y="84"/>
                  </a:cubicBezTo>
                  <a:cubicBezTo>
                    <a:pt x="5" y="84"/>
                    <a:pt x="0" y="63"/>
                    <a:pt x="0" y="43"/>
                  </a:cubicBezTo>
                  <a:cubicBezTo>
                    <a:pt x="0" y="25"/>
                    <a:pt x="7" y="0"/>
                    <a:pt x="29" y="0"/>
                  </a:cubicBezTo>
                  <a:cubicBezTo>
                    <a:pt x="40" y="0"/>
                    <a:pt x="49" y="6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105"/>
                    <a:pt x="50" y="119"/>
                    <a:pt x="26" y="119"/>
                  </a:cubicBezTo>
                  <a:close/>
                  <a:moveTo>
                    <a:pt x="30" y="8"/>
                  </a:moveTo>
                  <a:cubicBezTo>
                    <a:pt x="14" y="8"/>
                    <a:pt x="10" y="32"/>
                    <a:pt x="10" y="44"/>
                  </a:cubicBezTo>
                  <a:cubicBezTo>
                    <a:pt x="10" y="57"/>
                    <a:pt x="13" y="76"/>
                    <a:pt x="30" y="76"/>
                  </a:cubicBezTo>
                  <a:cubicBezTo>
                    <a:pt x="46" y="76"/>
                    <a:pt x="52" y="55"/>
                    <a:pt x="52" y="42"/>
                  </a:cubicBezTo>
                  <a:cubicBezTo>
                    <a:pt x="52" y="29"/>
                    <a:pt x="46" y="8"/>
                    <a:pt x="30" y="8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81" name="Freeform 14"/>
            <p:cNvSpPr>
              <a:spLocks/>
            </p:cNvSpPr>
            <p:nvPr/>
          </p:nvSpPr>
          <p:spPr bwMode="auto">
            <a:xfrm>
              <a:off x="3371" y="455"/>
              <a:ext cx="166" cy="269"/>
            </a:xfrm>
            <a:custGeom>
              <a:avLst/>
              <a:gdLst>
                <a:gd name="T0" fmla="*/ 71 w 166"/>
                <a:gd name="T1" fmla="*/ 269 h 269"/>
                <a:gd name="T2" fmla="*/ 48 w 166"/>
                <a:gd name="T3" fmla="*/ 269 h 269"/>
                <a:gd name="T4" fmla="*/ 76 w 166"/>
                <a:gd name="T5" fmla="*/ 193 h 269"/>
                <a:gd name="T6" fmla="*/ 0 w 166"/>
                <a:gd name="T7" fmla="*/ 0 h 269"/>
                <a:gd name="T8" fmla="*/ 22 w 166"/>
                <a:gd name="T9" fmla="*/ 0 h 269"/>
                <a:gd name="T10" fmla="*/ 85 w 166"/>
                <a:gd name="T11" fmla="*/ 160 h 269"/>
                <a:gd name="T12" fmla="*/ 142 w 166"/>
                <a:gd name="T13" fmla="*/ 0 h 269"/>
                <a:gd name="T14" fmla="*/ 166 w 166"/>
                <a:gd name="T15" fmla="*/ 0 h 269"/>
                <a:gd name="T16" fmla="*/ 71 w 166"/>
                <a:gd name="T17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269">
                  <a:moveTo>
                    <a:pt x="71" y="269"/>
                  </a:moveTo>
                  <a:lnTo>
                    <a:pt x="48" y="269"/>
                  </a:lnTo>
                  <a:lnTo>
                    <a:pt x="76" y="193"/>
                  </a:lnTo>
                  <a:lnTo>
                    <a:pt x="0" y="0"/>
                  </a:lnTo>
                  <a:lnTo>
                    <a:pt x="22" y="0"/>
                  </a:lnTo>
                  <a:lnTo>
                    <a:pt x="85" y="160"/>
                  </a:lnTo>
                  <a:lnTo>
                    <a:pt x="142" y="0"/>
                  </a:lnTo>
                  <a:lnTo>
                    <a:pt x="166" y="0"/>
                  </a:lnTo>
                  <a:lnTo>
                    <a:pt x="71" y="269"/>
                  </a:ln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82" name="Freeform 15"/>
            <p:cNvSpPr>
              <a:spLocks noEditPoints="1"/>
            </p:cNvSpPr>
            <p:nvPr/>
          </p:nvSpPr>
          <p:spPr bwMode="auto">
            <a:xfrm>
              <a:off x="391" y="388"/>
              <a:ext cx="1495" cy="265"/>
            </a:xfrm>
            <a:custGeom>
              <a:avLst/>
              <a:gdLst>
                <a:gd name="T0" fmla="*/ 29 w 633"/>
                <a:gd name="T1" fmla="*/ 99 h 112"/>
                <a:gd name="T2" fmla="*/ 46 w 633"/>
                <a:gd name="T3" fmla="*/ 74 h 112"/>
                <a:gd name="T4" fmla="*/ 65 w 633"/>
                <a:gd name="T5" fmla="*/ 52 h 112"/>
                <a:gd name="T6" fmla="*/ 4 w 633"/>
                <a:gd name="T7" fmla="*/ 52 h 112"/>
                <a:gd name="T8" fmla="*/ 35 w 633"/>
                <a:gd name="T9" fmla="*/ 39 h 112"/>
                <a:gd name="T10" fmla="*/ 46 w 633"/>
                <a:gd name="T11" fmla="*/ 63 h 112"/>
                <a:gd name="T12" fmla="*/ 25 w 633"/>
                <a:gd name="T13" fmla="*/ 112 h 112"/>
                <a:gd name="T14" fmla="*/ 46 w 633"/>
                <a:gd name="T15" fmla="*/ 101 h 112"/>
                <a:gd name="T16" fmla="*/ 65 w 633"/>
                <a:gd name="T17" fmla="*/ 110 h 112"/>
                <a:gd name="T18" fmla="*/ 142 w 633"/>
                <a:gd name="T19" fmla="*/ 56 h 112"/>
                <a:gd name="T20" fmla="*/ 73 w 633"/>
                <a:gd name="T21" fmla="*/ 65 h 112"/>
                <a:gd name="T22" fmla="*/ 141 w 633"/>
                <a:gd name="T23" fmla="*/ 108 h 112"/>
                <a:gd name="T24" fmla="*/ 128 w 633"/>
                <a:gd name="T25" fmla="*/ 99 h 112"/>
                <a:gd name="T26" fmla="*/ 109 w 633"/>
                <a:gd name="T27" fmla="*/ 39 h 112"/>
                <a:gd name="T28" fmla="*/ 196 w 633"/>
                <a:gd name="T29" fmla="*/ 56 h 112"/>
                <a:gd name="T30" fmla="*/ 185 w 633"/>
                <a:gd name="T31" fmla="*/ 26 h 112"/>
                <a:gd name="T32" fmla="*/ 191 w 633"/>
                <a:gd name="T33" fmla="*/ 112 h 112"/>
                <a:gd name="T34" fmla="*/ 215 w 633"/>
                <a:gd name="T35" fmla="*/ 96 h 112"/>
                <a:gd name="T36" fmla="*/ 167 w 633"/>
                <a:gd name="T37" fmla="*/ 62 h 112"/>
                <a:gd name="T38" fmla="*/ 196 w 633"/>
                <a:gd name="T39" fmla="*/ 56 h 112"/>
                <a:gd name="T40" fmla="*/ 241 w 633"/>
                <a:gd name="T41" fmla="*/ 52 h 112"/>
                <a:gd name="T42" fmla="*/ 271 w 633"/>
                <a:gd name="T43" fmla="*/ 52 h 112"/>
                <a:gd name="T44" fmla="*/ 289 w 633"/>
                <a:gd name="T45" fmla="*/ 59 h 112"/>
                <a:gd name="T46" fmla="*/ 222 w 633"/>
                <a:gd name="T47" fmla="*/ 65 h 112"/>
                <a:gd name="T48" fmla="*/ 287 w 633"/>
                <a:gd name="T49" fmla="*/ 109 h 112"/>
                <a:gd name="T50" fmla="*/ 271 w 633"/>
                <a:gd name="T51" fmla="*/ 99 h 112"/>
                <a:gd name="T52" fmla="*/ 289 w 633"/>
                <a:gd name="T53" fmla="*/ 64 h 112"/>
                <a:gd name="T54" fmla="*/ 365 w 633"/>
                <a:gd name="T55" fmla="*/ 110 h 112"/>
                <a:gd name="T56" fmla="*/ 343 w 633"/>
                <a:gd name="T57" fmla="*/ 26 h 112"/>
                <a:gd name="T58" fmla="*/ 318 w 633"/>
                <a:gd name="T59" fmla="*/ 43 h 112"/>
                <a:gd name="T60" fmla="*/ 299 w 633"/>
                <a:gd name="T61" fmla="*/ 28 h 112"/>
                <a:gd name="T62" fmla="*/ 318 w 633"/>
                <a:gd name="T63" fmla="*/ 110 h 112"/>
                <a:gd name="T64" fmla="*/ 337 w 633"/>
                <a:gd name="T65" fmla="*/ 44 h 112"/>
                <a:gd name="T66" fmla="*/ 346 w 633"/>
                <a:gd name="T67" fmla="*/ 63 h 112"/>
                <a:gd name="T68" fmla="*/ 405 w 633"/>
                <a:gd name="T69" fmla="*/ 41 h 112"/>
                <a:gd name="T70" fmla="*/ 429 w 633"/>
                <a:gd name="T71" fmla="*/ 28 h 112"/>
                <a:gd name="T72" fmla="*/ 405 w 633"/>
                <a:gd name="T73" fmla="*/ 0 h 112"/>
                <a:gd name="T74" fmla="*/ 386 w 633"/>
                <a:gd name="T75" fmla="*/ 28 h 112"/>
                <a:gd name="T76" fmla="*/ 370 w 633"/>
                <a:gd name="T77" fmla="*/ 41 h 112"/>
                <a:gd name="T78" fmla="*/ 386 w 633"/>
                <a:gd name="T79" fmla="*/ 89 h 112"/>
                <a:gd name="T80" fmla="*/ 427 w 633"/>
                <a:gd name="T81" fmla="*/ 111 h 112"/>
                <a:gd name="T82" fmla="*/ 418 w 633"/>
                <a:gd name="T83" fmla="*/ 99 h 112"/>
                <a:gd name="T84" fmla="*/ 405 w 633"/>
                <a:gd name="T85" fmla="*/ 41 h 112"/>
                <a:gd name="T86" fmla="*/ 504 w 633"/>
                <a:gd name="T87" fmla="*/ 110 h 112"/>
                <a:gd name="T88" fmla="*/ 485 w 633"/>
                <a:gd name="T89" fmla="*/ 28 h 112"/>
                <a:gd name="T90" fmla="*/ 466 w 633"/>
                <a:gd name="T91" fmla="*/ 94 h 112"/>
                <a:gd name="T92" fmla="*/ 457 w 633"/>
                <a:gd name="T93" fmla="*/ 75 h 112"/>
                <a:gd name="T94" fmla="*/ 438 w 633"/>
                <a:gd name="T95" fmla="*/ 28 h 112"/>
                <a:gd name="T96" fmla="*/ 460 w 633"/>
                <a:gd name="T97" fmla="*/ 112 h 112"/>
                <a:gd name="T98" fmla="*/ 485 w 633"/>
                <a:gd name="T99" fmla="*/ 95 h 112"/>
                <a:gd name="T100" fmla="*/ 536 w 633"/>
                <a:gd name="T101" fmla="*/ 74 h 112"/>
                <a:gd name="T102" fmla="*/ 562 w 633"/>
                <a:gd name="T103" fmla="*/ 26 h 112"/>
                <a:gd name="T104" fmla="*/ 536 w 633"/>
                <a:gd name="T105" fmla="*/ 43 h 112"/>
                <a:gd name="T106" fmla="*/ 516 w 633"/>
                <a:gd name="T107" fmla="*/ 28 h 112"/>
                <a:gd name="T108" fmla="*/ 536 w 633"/>
                <a:gd name="T109" fmla="*/ 110 h 112"/>
                <a:gd name="T110" fmla="*/ 615 w 633"/>
                <a:gd name="T111" fmla="*/ 52 h 112"/>
                <a:gd name="T112" fmla="*/ 600 w 633"/>
                <a:gd name="T113" fmla="*/ 38 h 112"/>
                <a:gd name="T114" fmla="*/ 633 w 633"/>
                <a:gd name="T115" fmla="*/ 64 h 112"/>
                <a:gd name="T116" fmla="*/ 602 w 633"/>
                <a:gd name="T117" fmla="*/ 26 h 112"/>
                <a:gd name="T118" fmla="*/ 608 w 633"/>
                <a:gd name="T119" fmla="*/ 112 h 112"/>
                <a:gd name="T120" fmla="*/ 631 w 633"/>
                <a:gd name="T121" fmla="*/ 95 h 112"/>
                <a:gd name="T122" fmla="*/ 584 w 633"/>
                <a:gd name="T123" fmla="*/ 6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" h="112">
                  <a:moveTo>
                    <a:pt x="46" y="74"/>
                  </a:moveTo>
                  <a:cubicBezTo>
                    <a:pt x="46" y="84"/>
                    <a:pt x="42" y="99"/>
                    <a:pt x="29" y="99"/>
                  </a:cubicBezTo>
                  <a:cubicBezTo>
                    <a:pt x="23" y="99"/>
                    <a:pt x="19" y="95"/>
                    <a:pt x="19" y="89"/>
                  </a:cubicBezTo>
                  <a:cubicBezTo>
                    <a:pt x="19" y="76"/>
                    <a:pt x="37" y="74"/>
                    <a:pt x="46" y="74"/>
                  </a:cubicBezTo>
                  <a:moveTo>
                    <a:pt x="65" y="110"/>
                  </a:move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52" y="26"/>
                    <a:pt x="35" y="26"/>
                  </a:cubicBezTo>
                  <a:cubicBezTo>
                    <a:pt x="18" y="26"/>
                    <a:pt x="4" y="33"/>
                    <a:pt x="4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2" y="44"/>
                    <a:pt x="27" y="39"/>
                    <a:pt x="35" y="39"/>
                  </a:cubicBezTo>
                  <a:cubicBezTo>
                    <a:pt x="44" y="39"/>
                    <a:pt x="46" y="46"/>
                    <a:pt x="46" y="54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28" y="63"/>
                    <a:pt x="0" y="66"/>
                    <a:pt x="0" y="90"/>
                  </a:cubicBezTo>
                  <a:cubicBezTo>
                    <a:pt x="0" y="104"/>
                    <a:pt x="12" y="112"/>
                    <a:pt x="25" y="112"/>
                  </a:cubicBezTo>
                  <a:cubicBezTo>
                    <a:pt x="34" y="112"/>
                    <a:pt x="42" y="109"/>
                    <a:pt x="46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65" y="110"/>
                    <a:pt x="65" y="110"/>
                    <a:pt x="65" y="110"/>
                  </a:cubicBezTo>
                  <a:moveTo>
                    <a:pt x="122" y="56"/>
                  </a:moveTo>
                  <a:cubicBezTo>
                    <a:pt x="142" y="56"/>
                    <a:pt x="142" y="56"/>
                    <a:pt x="142" y="56"/>
                  </a:cubicBezTo>
                  <a:cubicBezTo>
                    <a:pt x="142" y="36"/>
                    <a:pt x="131" y="26"/>
                    <a:pt x="111" y="26"/>
                  </a:cubicBezTo>
                  <a:cubicBezTo>
                    <a:pt x="86" y="26"/>
                    <a:pt x="73" y="41"/>
                    <a:pt x="73" y="65"/>
                  </a:cubicBezTo>
                  <a:cubicBezTo>
                    <a:pt x="73" y="94"/>
                    <a:pt x="88" y="112"/>
                    <a:pt x="117" y="112"/>
                  </a:cubicBezTo>
                  <a:cubicBezTo>
                    <a:pt x="125" y="112"/>
                    <a:pt x="134" y="111"/>
                    <a:pt x="141" y="108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37" y="98"/>
                    <a:pt x="132" y="99"/>
                    <a:pt x="128" y="99"/>
                  </a:cubicBezTo>
                  <a:cubicBezTo>
                    <a:pt x="106" y="99"/>
                    <a:pt x="94" y="83"/>
                    <a:pt x="94" y="62"/>
                  </a:cubicBezTo>
                  <a:cubicBezTo>
                    <a:pt x="94" y="52"/>
                    <a:pt x="97" y="39"/>
                    <a:pt x="109" y="39"/>
                  </a:cubicBezTo>
                  <a:cubicBezTo>
                    <a:pt x="119" y="39"/>
                    <a:pt x="122" y="48"/>
                    <a:pt x="122" y="56"/>
                  </a:cubicBezTo>
                  <a:moveTo>
                    <a:pt x="196" y="56"/>
                  </a:moveTo>
                  <a:cubicBezTo>
                    <a:pt x="216" y="56"/>
                    <a:pt x="216" y="56"/>
                    <a:pt x="216" y="56"/>
                  </a:cubicBezTo>
                  <a:cubicBezTo>
                    <a:pt x="216" y="36"/>
                    <a:pt x="205" y="26"/>
                    <a:pt x="185" y="26"/>
                  </a:cubicBezTo>
                  <a:cubicBezTo>
                    <a:pt x="160" y="26"/>
                    <a:pt x="147" y="41"/>
                    <a:pt x="147" y="65"/>
                  </a:cubicBezTo>
                  <a:cubicBezTo>
                    <a:pt x="147" y="94"/>
                    <a:pt x="162" y="112"/>
                    <a:pt x="191" y="112"/>
                  </a:cubicBezTo>
                  <a:cubicBezTo>
                    <a:pt x="199" y="112"/>
                    <a:pt x="207" y="111"/>
                    <a:pt x="215" y="108"/>
                  </a:cubicBezTo>
                  <a:cubicBezTo>
                    <a:pt x="215" y="96"/>
                    <a:pt x="215" y="96"/>
                    <a:pt x="215" y="96"/>
                  </a:cubicBezTo>
                  <a:cubicBezTo>
                    <a:pt x="211" y="98"/>
                    <a:pt x="206" y="99"/>
                    <a:pt x="201" y="99"/>
                  </a:cubicBezTo>
                  <a:cubicBezTo>
                    <a:pt x="179" y="99"/>
                    <a:pt x="167" y="83"/>
                    <a:pt x="167" y="62"/>
                  </a:cubicBezTo>
                  <a:cubicBezTo>
                    <a:pt x="167" y="52"/>
                    <a:pt x="171" y="39"/>
                    <a:pt x="183" y="39"/>
                  </a:cubicBezTo>
                  <a:cubicBezTo>
                    <a:pt x="193" y="39"/>
                    <a:pt x="196" y="48"/>
                    <a:pt x="196" y="56"/>
                  </a:cubicBezTo>
                  <a:moveTo>
                    <a:pt x="271" y="52"/>
                  </a:moveTo>
                  <a:cubicBezTo>
                    <a:pt x="241" y="52"/>
                    <a:pt x="241" y="52"/>
                    <a:pt x="241" y="52"/>
                  </a:cubicBezTo>
                  <a:cubicBezTo>
                    <a:pt x="242" y="44"/>
                    <a:pt x="248" y="38"/>
                    <a:pt x="256" y="38"/>
                  </a:cubicBezTo>
                  <a:cubicBezTo>
                    <a:pt x="265" y="38"/>
                    <a:pt x="271" y="44"/>
                    <a:pt x="271" y="52"/>
                  </a:cubicBezTo>
                  <a:moveTo>
                    <a:pt x="289" y="64"/>
                  </a:moveTo>
                  <a:cubicBezTo>
                    <a:pt x="289" y="59"/>
                    <a:pt x="289" y="59"/>
                    <a:pt x="289" y="59"/>
                  </a:cubicBezTo>
                  <a:cubicBezTo>
                    <a:pt x="289" y="39"/>
                    <a:pt x="279" y="26"/>
                    <a:pt x="258" y="26"/>
                  </a:cubicBezTo>
                  <a:cubicBezTo>
                    <a:pt x="233" y="26"/>
                    <a:pt x="222" y="41"/>
                    <a:pt x="222" y="65"/>
                  </a:cubicBezTo>
                  <a:cubicBezTo>
                    <a:pt x="222" y="92"/>
                    <a:pt x="235" y="112"/>
                    <a:pt x="264" y="112"/>
                  </a:cubicBezTo>
                  <a:cubicBezTo>
                    <a:pt x="272" y="112"/>
                    <a:pt x="279" y="111"/>
                    <a:pt x="287" y="109"/>
                  </a:cubicBezTo>
                  <a:cubicBezTo>
                    <a:pt x="287" y="95"/>
                    <a:pt x="287" y="95"/>
                    <a:pt x="287" y="95"/>
                  </a:cubicBezTo>
                  <a:cubicBezTo>
                    <a:pt x="282" y="97"/>
                    <a:pt x="276" y="99"/>
                    <a:pt x="271" y="99"/>
                  </a:cubicBezTo>
                  <a:cubicBezTo>
                    <a:pt x="252" y="99"/>
                    <a:pt x="240" y="81"/>
                    <a:pt x="240" y="64"/>
                  </a:cubicBezTo>
                  <a:cubicBezTo>
                    <a:pt x="289" y="64"/>
                    <a:pt x="289" y="64"/>
                    <a:pt x="289" y="64"/>
                  </a:cubicBezTo>
                  <a:moveTo>
                    <a:pt x="346" y="110"/>
                  </a:moveTo>
                  <a:cubicBezTo>
                    <a:pt x="365" y="110"/>
                    <a:pt x="365" y="110"/>
                    <a:pt x="365" y="110"/>
                  </a:cubicBezTo>
                  <a:cubicBezTo>
                    <a:pt x="365" y="53"/>
                    <a:pt x="365" y="53"/>
                    <a:pt x="365" y="53"/>
                  </a:cubicBezTo>
                  <a:cubicBezTo>
                    <a:pt x="365" y="39"/>
                    <a:pt x="358" y="26"/>
                    <a:pt x="343" y="26"/>
                  </a:cubicBezTo>
                  <a:cubicBezTo>
                    <a:pt x="331" y="26"/>
                    <a:pt x="323" y="33"/>
                    <a:pt x="318" y="43"/>
                  </a:cubicBezTo>
                  <a:cubicBezTo>
                    <a:pt x="318" y="43"/>
                    <a:pt x="318" y="43"/>
                    <a:pt x="318" y="43"/>
                  </a:cubicBezTo>
                  <a:cubicBezTo>
                    <a:pt x="318" y="28"/>
                    <a:pt x="318" y="28"/>
                    <a:pt x="318" y="28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110"/>
                    <a:pt x="299" y="110"/>
                    <a:pt x="299" y="110"/>
                  </a:cubicBezTo>
                  <a:cubicBezTo>
                    <a:pt x="318" y="110"/>
                    <a:pt x="318" y="110"/>
                    <a:pt x="318" y="110"/>
                  </a:cubicBezTo>
                  <a:cubicBezTo>
                    <a:pt x="318" y="75"/>
                    <a:pt x="318" y="75"/>
                    <a:pt x="318" y="75"/>
                  </a:cubicBezTo>
                  <a:cubicBezTo>
                    <a:pt x="318" y="63"/>
                    <a:pt x="324" y="44"/>
                    <a:pt x="337" y="44"/>
                  </a:cubicBezTo>
                  <a:cubicBezTo>
                    <a:pt x="339" y="44"/>
                    <a:pt x="341" y="44"/>
                    <a:pt x="343" y="45"/>
                  </a:cubicBezTo>
                  <a:cubicBezTo>
                    <a:pt x="346" y="49"/>
                    <a:pt x="346" y="59"/>
                    <a:pt x="346" y="63"/>
                  </a:cubicBezTo>
                  <a:cubicBezTo>
                    <a:pt x="346" y="110"/>
                    <a:pt x="346" y="110"/>
                    <a:pt x="346" y="110"/>
                  </a:cubicBezTo>
                  <a:moveTo>
                    <a:pt x="405" y="41"/>
                  </a:moveTo>
                  <a:cubicBezTo>
                    <a:pt x="429" y="41"/>
                    <a:pt x="429" y="41"/>
                    <a:pt x="429" y="41"/>
                  </a:cubicBezTo>
                  <a:cubicBezTo>
                    <a:pt x="429" y="28"/>
                    <a:pt x="429" y="28"/>
                    <a:pt x="429" y="28"/>
                  </a:cubicBezTo>
                  <a:cubicBezTo>
                    <a:pt x="405" y="28"/>
                    <a:pt x="405" y="28"/>
                    <a:pt x="405" y="28"/>
                  </a:cubicBezTo>
                  <a:cubicBezTo>
                    <a:pt x="405" y="0"/>
                    <a:pt x="405" y="0"/>
                    <a:pt x="405" y="0"/>
                  </a:cubicBezTo>
                  <a:cubicBezTo>
                    <a:pt x="386" y="8"/>
                    <a:pt x="386" y="8"/>
                    <a:pt x="386" y="8"/>
                  </a:cubicBezTo>
                  <a:cubicBezTo>
                    <a:pt x="386" y="28"/>
                    <a:pt x="386" y="28"/>
                    <a:pt x="386" y="28"/>
                  </a:cubicBezTo>
                  <a:cubicBezTo>
                    <a:pt x="370" y="28"/>
                    <a:pt x="370" y="28"/>
                    <a:pt x="370" y="28"/>
                  </a:cubicBezTo>
                  <a:cubicBezTo>
                    <a:pt x="370" y="41"/>
                    <a:pt x="370" y="41"/>
                    <a:pt x="370" y="41"/>
                  </a:cubicBezTo>
                  <a:cubicBezTo>
                    <a:pt x="386" y="41"/>
                    <a:pt x="386" y="41"/>
                    <a:pt x="386" y="41"/>
                  </a:cubicBezTo>
                  <a:cubicBezTo>
                    <a:pt x="386" y="89"/>
                    <a:pt x="386" y="89"/>
                    <a:pt x="386" y="89"/>
                  </a:cubicBezTo>
                  <a:cubicBezTo>
                    <a:pt x="386" y="107"/>
                    <a:pt x="394" y="112"/>
                    <a:pt x="411" y="112"/>
                  </a:cubicBezTo>
                  <a:cubicBezTo>
                    <a:pt x="416" y="112"/>
                    <a:pt x="422" y="112"/>
                    <a:pt x="427" y="111"/>
                  </a:cubicBezTo>
                  <a:cubicBezTo>
                    <a:pt x="427" y="97"/>
                    <a:pt x="427" y="97"/>
                    <a:pt x="427" y="97"/>
                  </a:cubicBezTo>
                  <a:cubicBezTo>
                    <a:pt x="424" y="98"/>
                    <a:pt x="421" y="99"/>
                    <a:pt x="418" y="99"/>
                  </a:cubicBezTo>
                  <a:cubicBezTo>
                    <a:pt x="406" y="99"/>
                    <a:pt x="405" y="90"/>
                    <a:pt x="405" y="80"/>
                  </a:cubicBezTo>
                  <a:cubicBezTo>
                    <a:pt x="405" y="41"/>
                    <a:pt x="405" y="41"/>
                    <a:pt x="405" y="41"/>
                  </a:cubicBezTo>
                  <a:moveTo>
                    <a:pt x="485" y="110"/>
                  </a:moveTo>
                  <a:cubicBezTo>
                    <a:pt x="504" y="110"/>
                    <a:pt x="504" y="110"/>
                    <a:pt x="504" y="110"/>
                  </a:cubicBezTo>
                  <a:cubicBezTo>
                    <a:pt x="504" y="28"/>
                    <a:pt x="504" y="28"/>
                    <a:pt x="504" y="28"/>
                  </a:cubicBezTo>
                  <a:cubicBezTo>
                    <a:pt x="485" y="28"/>
                    <a:pt x="485" y="28"/>
                    <a:pt x="485" y="28"/>
                  </a:cubicBezTo>
                  <a:cubicBezTo>
                    <a:pt x="485" y="63"/>
                    <a:pt x="485" y="63"/>
                    <a:pt x="485" y="63"/>
                  </a:cubicBezTo>
                  <a:cubicBezTo>
                    <a:pt x="485" y="75"/>
                    <a:pt x="479" y="94"/>
                    <a:pt x="466" y="94"/>
                  </a:cubicBezTo>
                  <a:cubicBezTo>
                    <a:pt x="464" y="94"/>
                    <a:pt x="461" y="94"/>
                    <a:pt x="460" y="93"/>
                  </a:cubicBezTo>
                  <a:cubicBezTo>
                    <a:pt x="457" y="89"/>
                    <a:pt x="457" y="79"/>
                    <a:pt x="457" y="75"/>
                  </a:cubicBezTo>
                  <a:cubicBezTo>
                    <a:pt x="457" y="28"/>
                    <a:pt x="457" y="28"/>
                    <a:pt x="457" y="28"/>
                  </a:cubicBezTo>
                  <a:cubicBezTo>
                    <a:pt x="438" y="28"/>
                    <a:pt x="438" y="28"/>
                    <a:pt x="438" y="28"/>
                  </a:cubicBezTo>
                  <a:cubicBezTo>
                    <a:pt x="438" y="85"/>
                    <a:pt x="438" y="85"/>
                    <a:pt x="438" y="85"/>
                  </a:cubicBezTo>
                  <a:cubicBezTo>
                    <a:pt x="438" y="99"/>
                    <a:pt x="444" y="112"/>
                    <a:pt x="460" y="112"/>
                  </a:cubicBezTo>
                  <a:cubicBezTo>
                    <a:pt x="472" y="112"/>
                    <a:pt x="480" y="105"/>
                    <a:pt x="485" y="95"/>
                  </a:cubicBezTo>
                  <a:cubicBezTo>
                    <a:pt x="485" y="95"/>
                    <a:pt x="485" y="95"/>
                    <a:pt x="485" y="95"/>
                  </a:cubicBezTo>
                  <a:cubicBezTo>
                    <a:pt x="485" y="110"/>
                    <a:pt x="485" y="110"/>
                    <a:pt x="485" y="110"/>
                  </a:cubicBezTo>
                  <a:moveTo>
                    <a:pt x="536" y="74"/>
                  </a:moveTo>
                  <a:cubicBezTo>
                    <a:pt x="536" y="55"/>
                    <a:pt x="543" y="46"/>
                    <a:pt x="562" y="46"/>
                  </a:cubicBezTo>
                  <a:cubicBezTo>
                    <a:pt x="562" y="26"/>
                    <a:pt x="562" y="26"/>
                    <a:pt x="562" y="26"/>
                  </a:cubicBezTo>
                  <a:cubicBezTo>
                    <a:pt x="549" y="26"/>
                    <a:pt x="542" y="32"/>
                    <a:pt x="536" y="43"/>
                  </a:cubicBezTo>
                  <a:cubicBezTo>
                    <a:pt x="536" y="43"/>
                    <a:pt x="536" y="43"/>
                    <a:pt x="536" y="43"/>
                  </a:cubicBezTo>
                  <a:cubicBezTo>
                    <a:pt x="536" y="28"/>
                    <a:pt x="536" y="28"/>
                    <a:pt x="536" y="28"/>
                  </a:cubicBezTo>
                  <a:cubicBezTo>
                    <a:pt x="516" y="28"/>
                    <a:pt x="516" y="28"/>
                    <a:pt x="516" y="28"/>
                  </a:cubicBezTo>
                  <a:cubicBezTo>
                    <a:pt x="516" y="110"/>
                    <a:pt x="516" y="110"/>
                    <a:pt x="516" y="110"/>
                  </a:cubicBezTo>
                  <a:cubicBezTo>
                    <a:pt x="536" y="110"/>
                    <a:pt x="536" y="110"/>
                    <a:pt x="536" y="110"/>
                  </a:cubicBezTo>
                  <a:cubicBezTo>
                    <a:pt x="536" y="74"/>
                    <a:pt x="536" y="74"/>
                    <a:pt x="536" y="74"/>
                  </a:cubicBezTo>
                  <a:moveTo>
                    <a:pt x="615" y="52"/>
                  </a:moveTo>
                  <a:cubicBezTo>
                    <a:pt x="585" y="52"/>
                    <a:pt x="585" y="52"/>
                    <a:pt x="585" y="52"/>
                  </a:cubicBezTo>
                  <a:cubicBezTo>
                    <a:pt x="586" y="44"/>
                    <a:pt x="592" y="38"/>
                    <a:pt x="600" y="38"/>
                  </a:cubicBezTo>
                  <a:cubicBezTo>
                    <a:pt x="609" y="38"/>
                    <a:pt x="615" y="44"/>
                    <a:pt x="615" y="52"/>
                  </a:cubicBezTo>
                  <a:moveTo>
                    <a:pt x="633" y="64"/>
                  </a:moveTo>
                  <a:cubicBezTo>
                    <a:pt x="633" y="59"/>
                    <a:pt x="633" y="59"/>
                    <a:pt x="633" y="59"/>
                  </a:cubicBezTo>
                  <a:cubicBezTo>
                    <a:pt x="633" y="39"/>
                    <a:pt x="623" y="26"/>
                    <a:pt x="602" y="26"/>
                  </a:cubicBezTo>
                  <a:cubicBezTo>
                    <a:pt x="577" y="26"/>
                    <a:pt x="566" y="41"/>
                    <a:pt x="566" y="65"/>
                  </a:cubicBezTo>
                  <a:cubicBezTo>
                    <a:pt x="566" y="92"/>
                    <a:pt x="579" y="112"/>
                    <a:pt x="608" y="112"/>
                  </a:cubicBezTo>
                  <a:cubicBezTo>
                    <a:pt x="616" y="112"/>
                    <a:pt x="623" y="111"/>
                    <a:pt x="631" y="109"/>
                  </a:cubicBezTo>
                  <a:cubicBezTo>
                    <a:pt x="631" y="95"/>
                    <a:pt x="631" y="95"/>
                    <a:pt x="631" y="95"/>
                  </a:cubicBezTo>
                  <a:cubicBezTo>
                    <a:pt x="626" y="97"/>
                    <a:pt x="620" y="99"/>
                    <a:pt x="615" y="99"/>
                  </a:cubicBezTo>
                  <a:cubicBezTo>
                    <a:pt x="596" y="99"/>
                    <a:pt x="584" y="81"/>
                    <a:pt x="584" y="64"/>
                  </a:cubicBezTo>
                  <a:cubicBezTo>
                    <a:pt x="633" y="64"/>
                    <a:pt x="633" y="64"/>
                    <a:pt x="633" y="6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83" name="Freeform 16"/>
            <p:cNvSpPr>
              <a:spLocks/>
            </p:cNvSpPr>
            <p:nvPr/>
          </p:nvSpPr>
          <p:spPr bwMode="auto">
            <a:xfrm>
              <a:off x="1267" y="226"/>
              <a:ext cx="142" cy="144"/>
            </a:xfrm>
            <a:custGeom>
              <a:avLst/>
              <a:gdLst>
                <a:gd name="T0" fmla="*/ 0 w 60"/>
                <a:gd name="T1" fmla="*/ 0 h 61"/>
                <a:gd name="T2" fmla="*/ 0 w 60"/>
                <a:gd name="T3" fmla="*/ 14 h 61"/>
                <a:gd name="T4" fmla="*/ 44 w 60"/>
                <a:gd name="T5" fmla="*/ 31 h 61"/>
                <a:gd name="T6" fmla="*/ 0 w 60"/>
                <a:gd name="T7" fmla="*/ 48 h 61"/>
                <a:gd name="T8" fmla="*/ 0 w 60"/>
                <a:gd name="T9" fmla="*/ 61 h 61"/>
                <a:gd name="T10" fmla="*/ 60 w 60"/>
                <a:gd name="T11" fmla="*/ 37 h 61"/>
                <a:gd name="T12" fmla="*/ 60 w 60"/>
                <a:gd name="T13" fmla="*/ 25 h 61"/>
                <a:gd name="T14" fmla="*/ 0 w 60"/>
                <a:gd name="T1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61">
                  <a:moveTo>
                    <a:pt x="0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39" y="29"/>
                    <a:pt x="44" y="31"/>
                  </a:cubicBezTo>
                  <a:cubicBezTo>
                    <a:pt x="39" y="33"/>
                    <a:pt x="0" y="48"/>
                    <a:pt x="0" y="48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A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508190" y="1306460"/>
            <a:ext cx="8889622" cy="751947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898" b="1" i="0" spc="0" baseline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/>
          </p:nvPr>
        </p:nvSpPr>
        <p:spPr>
          <a:xfrm>
            <a:off x="508190" y="2058407"/>
            <a:ext cx="8889622" cy="467563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167" b="1" i="0" kern="1200" spc="0" baseline="0" dirty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924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924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924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924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7066638" y="3739351"/>
            <a:ext cx="2498920" cy="2061245"/>
            <a:chOff x="5728986" y="1472516"/>
            <a:chExt cx="3074394" cy="2061722"/>
          </a:xfrm>
        </p:grpSpPr>
        <p:sp>
          <p:nvSpPr>
            <p:cNvPr id="24" name="Freeform 23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srgbClr val="FFFFFF"/>
                </a:solidFill>
              </a:endParaRPr>
            </a:p>
          </p:txBody>
        </p:sp>
        <p:sp>
          <p:nvSpPr>
            <p:cNvPr id="25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</p:grpSp>
      <p:pic>
        <p:nvPicPr>
          <p:cNvPr id="70" name="Picture 6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1834" y="6273359"/>
            <a:ext cx="3818616" cy="2287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2585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56835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" name="think-cell スライド" r:id="rId5" imgW="470" imgH="469" progId="TCLayout.ActiveDocument.1">
                  <p:embed/>
                </p:oleObj>
              </mc:Choice>
              <mc:Fallback>
                <p:oleObj name="think-cell スライド" r:id="rId5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CA469BE0-C4DD-4A81-90A8-F38AF1A7F08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28000" cy="4207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dirty="0"/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488504" y="944949"/>
            <a:ext cx="8928000" cy="669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defTabSz="990546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 marL="644525" indent="-285750">
              <a:buFont typeface="Wingdings" panose="05000000000000000000" pitchFamily="2" charset="2"/>
              <a:buChar char="p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 marL="1004888" indent="-285750">
              <a:buFont typeface="Arial" panose="020B0604020202020204" pitchFamily="34" charset="0"/>
              <a:buChar char="•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 marL="1363662" indent="-285750">
              <a:buFont typeface="Meiryo UI" panose="020B0604030504040204" pitchFamily="50" charset="-128"/>
              <a:buChar char="–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 marL="1436687" indent="0">
              <a:buNone/>
              <a:defRPr lang="ja-JP" altLang="en-US" dirty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5pPr>
          </a:lstStyle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22" name="テキスト プレースホルダー 21"/>
          <p:cNvSpPr>
            <a:spLocks noGrp="1"/>
          </p:cNvSpPr>
          <p:nvPr userDrawn="1">
            <p:ph type="body" sz="quarter" idx="13"/>
          </p:nvPr>
        </p:nvSpPr>
        <p:spPr>
          <a:xfrm>
            <a:off x="488504" y="77844"/>
            <a:ext cx="8928000" cy="36933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ja-JP" altLang="en-US" b="1" dirty="0"/>
            </a:lvl1pPr>
          </a:lstStyle>
          <a:p>
            <a:pPr lvl="0">
              <a:spcBef>
                <a:spcPts val="325"/>
              </a:spcBef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B7C929D-1B27-411A-B169-9CD824DB33C9}"/>
              </a:ext>
            </a:extLst>
          </p:cNvPr>
          <p:cNvSpPr txBox="1"/>
          <p:nvPr userDrawn="1"/>
        </p:nvSpPr>
        <p:spPr>
          <a:xfrm>
            <a:off x="9562037" y="6623714"/>
            <a:ext cx="287507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00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pPr algn="ctr"/>
              <a:t>‹#›</a:t>
            </a:fld>
            <a:endParaRPr kumimoji="1" lang="ja-JP" altLang="en-US" sz="1000" i="1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12906456-D3DD-4442-83E0-BA6425182F3D}"/>
              </a:ext>
            </a:extLst>
          </p:cNvPr>
          <p:cNvSpPr/>
          <p:nvPr userDrawn="1"/>
        </p:nvSpPr>
        <p:spPr bwMode="auto">
          <a:xfrm>
            <a:off x="-879584" y="6040398"/>
            <a:ext cx="576000" cy="57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7D3C50D3-6FCF-426C-A8CD-58001A1DA770}"/>
              </a:ext>
            </a:extLst>
          </p:cNvPr>
          <p:cNvSpPr/>
          <p:nvPr userDrawn="1"/>
        </p:nvSpPr>
        <p:spPr bwMode="auto">
          <a:xfrm>
            <a:off x="-879584" y="4617892"/>
            <a:ext cx="576000" cy="576000"/>
          </a:xfrm>
          <a:prstGeom prst="rect">
            <a:avLst/>
          </a:prstGeom>
          <a:solidFill>
            <a:srgbClr val="5A5A5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65AF459-1382-45FE-8AF0-FCF18D1E72A0}"/>
              </a:ext>
            </a:extLst>
          </p:cNvPr>
          <p:cNvSpPr/>
          <p:nvPr userDrawn="1"/>
        </p:nvSpPr>
        <p:spPr bwMode="auto">
          <a:xfrm>
            <a:off x="-879584" y="2484133"/>
            <a:ext cx="576000" cy="576000"/>
          </a:xfrm>
          <a:prstGeom prst="rect">
            <a:avLst/>
          </a:prstGeom>
          <a:solidFill>
            <a:srgbClr val="A100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07A765F-35EF-4253-9A19-35E2FAFD8A3E}"/>
              </a:ext>
            </a:extLst>
          </p:cNvPr>
          <p:cNvSpPr/>
          <p:nvPr userDrawn="1"/>
        </p:nvSpPr>
        <p:spPr bwMode="auto">
          <a:xfrm>
            <a:off x="-879584" y="5329145"/>
            <a:ext cx="576000" cy="576000"/>
          </a:xfrm>
          <a:prstGeom prst="rect">
            <a:avLst/>
          </a:prstGeom>
          <a:solidFill>
            <a:srgbClr val="969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1E34B52-515B-4F68-BC82-4B96533930ED}"/>
              </a:ext>
            </a:extLst>
          </p:cNvPr>
          <p:cNvSpPr/>
          <p:nvPr userDrawn="1"/>
        </p:nvSpPr>
        <p:spPr bwMode="auto">
          <a:xfrm>
            <a:off x="-879584" y="3195386"/>
            <a:ext cx="576000" cy="576000"/>
          </a:xfrm>
          <a:prstGeom prst="rect">
            <a:avLst/>
          </a:prstGeom>
          <a:solidFill>
            <a:srgbClr val="008E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60701147-FAF6-4FF9-A5CD-44453C667421}"/>
              </a:ext>
            </a:extLst>
          </p:cNvPr>
          <p:cNvSpPr/>
          <p:nvPr userDrawn="1"/>
        </p:nvSpPr>
        <p:spPr bwMode="auto">
          <a:xfrm>
            <a:off x="-879584" y="3906639"/>
            <a:ext cx="576000" cy="576000"/>
          </a:xfrm>
          <a:prstGeom prst="rect">
            <a:avLst/>
          </a:prstGeom>
          <a:solidFill>
            <a:srgbClr val="8BE1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01F64509-B6E4-4045-BC34-2D4BABAF7998}"/>
              </a:ext>
            </a:extLst>
          </p:cNvPr>
          <p:cNvSpPr/>
          <p:nvPr userDrawn="1"/>
        </p:nvSpPr>
        <p:spPr bwMode="auto">
          <a:xfrm>
            <a:off x="-879584" y="1772880"/>
            <a:ext cx="576000" cy="576000"/>
          </a:xfrm>
          <a:prstGeom prst="rect">
            <a:avLst/>
          </a:prstGeom>
          <a:solidFill>
            <a:srgbClr val="46007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05A93146-D08E-40E3-B7E3-11F6DA76B43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456" y="6596842"/>
            <a:ext cx="4665060" cy="216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680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panose="020B0600070205080204" pitchFamily="50" charset="-128"/>
              </a:rPr>
              <a:t>Proprietary and Highly Confidential to Accenture.</a:t>
            </a:r>
            <a:r>
              <a:rPr kumimoji="0" lang="en-US" altLang="ja-JP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游明朝" panose="02020400000000000000" pitchFamily="18" charset="-128"/>
              </a:rPr>
              <a:t>   ©</a:t>
            </a:r>
            <a:r>
              <a:rPr kumimoji="0" lang="en-US" altLang="ja-JP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panose="020B0600070205080204" pitchFamily="50" charset="-128"/>
              </a:rPr>
              <a:t> 2020 Accenture All Rights Reserved</a:t>
            </a:r>
            <a:endParaRPr kumimoji="0" lang="en-US" altLang="ja-JP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108" name="正方形/長方形 107">
            <a:extLst>
              <a:ext uri="{FF2B5EF4-FFF2-40B4-BE49-F238E27FC236}">
                <a16:creationId xmlns:a16="http://schemas.microsoft.com/office/drawing/2014/main" id="{9D73520D-FEB3-410E-AA07-FE7E01E38544}"/>
              </a:ext>
            </a:extLst>
          </p:cNvPr>
          <p:cNvSpPr/>
          <p:nvPr userDrawn="1"/>
        </p:nvSpPr>
        <p:spPr bwMode="auto">
          <a:xfrm>
            <a:off x="-879584" y="1061627"/>
            <a:ext cx="576000" cy="576000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003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2">
            <a:extLst>
              <a:ext uri="{FF2B5EF4-FFF2-40B4-BE49-F238E27FC236}">
                <a16:creationId xmlns:a16="http://schemas.microsoft.com/office/drawing/2014/main" id="{9A1B4E06-7674-44E6-8FF8-E12F70DE8A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5442" y="5352776"/>
            <a:ext cx="5383660" cy="380480"/>
          </a:xfrm>
          <a:prstGeom prst="rect">
            <a:avLst/>
          </a:prstGeom>
        </p:spPr>
        <p:txBody>
          <a:bodyPr lIns="36000" tIns="36000" rIns="36000" bIns="3600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400" b="1" kern="1200" spc="0" baseline="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/>
              <a:t>YYYY/MM/DD</a:t>
            </a:r>
            <a:r>
              <a:rPr lang="en-US" altLang="ja-JP"/>
              <a:t> (24pt, Bold)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BFDB7CC-3A36-463F-9D3D-3A0E76A1AA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5442" y="2375692"/>
            <a:ext cx="6679806" cy="1125316"/>
          </a:xfrm>
          <a:prstGeom prst="rect">
            <a:avLst/>
          </a:prstGeom>
        </p:spPr>
        <p:txBody>
          <a:bodyPr lIns="36000" tIns="36000" rIns="36000" bIns="36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kumimoji="1" lang="en-GB" sz="3200" b="1" kern="1200" spc="0" baseline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</a:pPr>
            <a:r>
              <a:rPr lang="ja-JP" altLang="en-US"/>
              <a:t>プロジェクト名</a:t>
            </a:r>
            <a:r>
              <a:rPr lang="en-US" altLang="ja-JP"/>
              <a:t>(32pt, Bold)</a:t>
            </a:r>
            <a:endParaRPr lang="en-GB"/>
          </a:p>
        </p:txBody>
      </p:sp>
      <p:sp>
        <p:nvSpPr>
          <p:cNvPr id="17" name="Text Placeholder 32">
            <a:extLst>
              <a:ext uri="{FF2B5EF4-FFF2-40B4-BE49-F238E27FC236}">
                <a16:creationId xmlns:a16="http://schemas.microsoft.com/office/drawing/2014/main" id="{414E02E7-3A5E-4E56-BE45-68E91CEAAC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442" y="587421"/>
            <a:ext cx="5383660" cy="442035"/>
          </a:xfrm>
          <a:prstGeom prst="rect">
            <a:avLst/>
          </a:prstGeom>
        </p:spPr>
        <p:txBody>
          <a:bodyPr lIns="36000" tIns="36000" rIns="36000" bIns="3600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400" b="1" kern="1200" spc="0" baseline="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ja-JP" altLang="en-US"/>
              <a:t>企業名 </a:t>
            </a:r>
            <a:r>
              <a:rPr lang="en-US" altLang="ja-JP"/>
              <a:t>or </a:t>
            </a:r>
            <a:r>
              <a:rPr lang="ja-JP" altLang="en-US"/>
              <a:t>企業ロゴ </a:t>
            </a:r>
            <a:r>
              <a:rPr lang="en-US" altLang="ja-JP"/>
              <a:t>(24pt, Bold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395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0" pos="600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1141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" name="think-cell スライド" r:id="rId5" imgW="470" imgH="469" progId="TCLayout.ActiveDocument.1">
                  <p:embed/>
                </p:oleObj>
              </mc:Choice>
              <mc:Fallback>
                <p:oleObj name="think-cell スライド" r:id="rId5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CA469BE0-C4DD-4A81-90A8-F38AF1A7F08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28000" cy="4207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dirty="0"/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488504" y="944949"/>
            <a:ext cx="8928000" cy="669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defTabSz="990546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 marL="644525" indent="-285750">
              <a:buFont typeface="Wingdings" panose="05000000000000000000" pitchFamily="2" charset="2"/>
              <a:buChar char="p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 marL="1004888" indent="-285750">
              <a:buFont typeface="Arial" panose="020B0604020202020204" pitchFamily="34" charset="0"/>
              <a:buChar char="•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 marL="1363662" indent="-285750">
              <a:buFont typeface="Meiryo UI" panose="020B0604030504040204" pitchFamily="50" charset="-128"/>
              <a:buChar char="–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 marL="1436687" indent="0">
              <a:buNone/>
              <a:defRPr lang="ja-JP" altLang="en-US" dirty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5pPr>
          </a:lstStyle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22" name="テキスト プレースホルダー 21"/>
          <p:cNvSpPr>
            <a:spLocks noGrp="1"/>
          </p:cNvSpPr>
          <p:nvPr userDrawn="1">
            <p:ph type="body" sz="quarter" idx="13"/>
          </p:nvPr>
        </p:nvSpPr>
        <p:spPr>
          <a:xfrm>
            <a:off x="488504" y="77844"/>
            <a:ext cx="8928000" cy="36933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ja-JP" altLang="en-US" b="1" dirty="0"/>
            </a:lvl1pPr>
          </a:lstStyle>
          <a:p>
            <a:pPr lvl="0">
              <a:spcBef>
                <a:spcPts val="325"/>
              </a:spcBef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B7C929D-1B27-411A-B169-9CD824DB33C9}"/>
              </a:ext>
            </a:extLst>
          </p:cNvPr>
          <p:cNvSpPr txBox="1"/>
          <p:nvPr userDrawn="1"/>
        </p:nvSpPr>
        <p:spPr>
          <a:xfrm>
            <a:off x="9562037" y="6623714"/>
            <a:ext cx="287507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00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pPr algn="ctr"/>
              <a:t>‹#›</a:t>
            </a:fld>
            <a:endParaRPr kumimoji="1" lang="ja-JP" altLang="en-US" sz="1000" i="1" dirty="0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19" name="Rectangle 67">
            <a:extLst>
              <a:ext uri="{FF2B5EF4-FFF2-40B4-BE49-F238E27FC236}">
                <a16:creationId xmlns:a16="http://schemas.microsoft.com/office/drawing/2014/main" id="{05A93146-D08E-40E3-B7E3-11F6DA76B43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456" y="6596842"/>
            <a:ext cx="4665060" cy="216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680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panose="020B0600070205080204" pitchFamily="50" charset="-128"/>
              </a:rPr>
              <a:t>Proprietary and Highly Confidential to Accenture.</a:t>
            </a: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游明朝" panose="02020400000000000000" pitchFamily="18" charset="-128"/>
              </a:rPr>
              <a:t>   ©</a:t>
            </a: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panose="020B0600070205080204" pitchFamily="50" charset="-128"/>
              </a:rPr>
              <a:t> 2020 Accenture All Rights Reserved</a:t>
            </a:r>
            <a:endParaRPr kumimoji="0" lang="en-US" altLang="ja-JP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143397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2">
            <a:extLst>
              <a:ext uri="{FF2B5EF4-FFF2-40B4-BE49-F238E27FC236}">
                <a16:creationId xmlns:a16="http://schemas.microsoft.com/office/drawing/2014/main" id="{9A1B4E06-7674-44E6-8FF8-E12F70DE8A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5442" y="5352776"/>
            <a:ext cx="5383660" cy="380480"/>
          </a:xfrm>
          <a:prstGeom prst="rect">
            <a:avLst/>
          </a:prstGeom>
        </p:spPr>
        <p:txBody>
          <a:bodyPr lIns="36000" tIns="36000" rIns="36000" bIns="3600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400" b="1" kern="1200" spc="0" baseline="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/>
              <a:t>YYYY/MM/DD</a:t>
            </a:r>
            <a:r>
              <a:rPr lang="en-US" altLang="ja-JP"/>
              <a:t> (24pt, Bold)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BFDB7CC-3A36-463F-9D3D-3A0E76A1AA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5442" y="2375692"/>
            <a:ext cx="6679806" cy="1125316"/>
          </a:xfrm>
          <a:prstGeom prst="rect">
            <a:avLst/>
          </a:prstGeom>
        </p:spPr>
        <p:txBody>
          <a:bodyPr lIns="36000" tIns="36000" rIns="36000" bIns="36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kumimoji="1" lang="en-GB" sz="3200" b="1" kern="1200" spc="0" baseline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</a:pPr>
            <a:r>
              <a:rPr lang="ja-JP" altLang="en-US"/>
              <a:t>プロジェクト名</a:t>
            </a:r>
            <a:r>
              <a:rPr lang="en-US" altLang="ja-JP"/>
              <a:t>(32pt, Bold)</a:t>
            </a:r>
            <a:endParaRPr lang="en-GB"/>
          </a:p>
        </p:txBody>
      </p:sp>
      <p:sp>
        <p:nvSpPr>
          <p:cNvPr id="17" name="Text Placeholder 32">
            <a:extLst>
              <a:ext uri="{FF2B5EF4-FFF2-40B4-BE49-F238E27FC236}">
                <a16:creationId xmlns:a16="http://schemas.microsoft.com/office/drawing/2014/main" id="{414E02E7-3A5E-4E56-BE45-68E91CEAAC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442" y="587421"/>
            <a:ext cx="5383660" cy="442035"/>
          </a:xfrm>
          <a:prstGeom prst="rect">
            <a:avLst/>
          </a:prstGeom>
        </p:spPr>
        <p:txBody>
          <a:bodyPr lIns="36000" tIns="36000" rIns="36000" bIns="3600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400" b="1" kern="1200" spc="0" baseline="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ja-JP" altLang="en-US"/>
              <a:t>企業名 </a:t>
            </a:r>
            <a:r>
              <a:rPr lang="en-US" altLang="ja-JP"/>
              <a:t>or </a:t>
            </a:r>
            <a:r>
              <a:rPr lang="ja-JP" altLang="en-US"/>
              <a:t>企業ロゴ </a:t>
            </a:r>
            <a:r>
              <a:rPr lang="en-US" altLang="ja-JP"/>
              <a:t>(24pt, Bold)</a:t>
            </a:r>
            <a:endParaRPr lang="en-US"/>
          </a:p>
        </p:txBody>
      </p:sp>
      <p:grpSp>
        <p:nvGrpSpPr>
          <p:cNvPr id="7" name="Group 10">
            <a:extLst>
              <a:ext uri="{FF2B5EF4-FFF2-40B4-BE49-F238E27FC236}">
                <a16:creationId xmlns:a16="http://schemas.microsoft.com/office/drawing/2014/main" id="{7795A621-E21B-4068-8C0C-431393E75FB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320042" y="955525"/>
            <a:ext cx="4311191" cy="4573173"/>
            <a:chOff x="3494539" y="1675327"/>
            <a:chExt cx="1371600" cy="145495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3364B04B-A4DC-4696-B400-45BA9DF8B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910" y="2243896"/>
              <a:ext cx="1371229" cy="886381"/>
            </a:xfrm>
            <a:custGeom>
              <a:avLst/>
              <a:gdLst>
                <a:gd name="T0" fmla="*/ 3374 w 3374"/>
                <a:gd name="T1" fmla="*/ 0 h 2181"/>
                <a:gd name="T2" fmla="*/ 0 w 3374"/>
                <a:gd name="T3" fmla="*/ 1398 h 2181"/>
                <a:gd name="T4" fmla="*/ 0 w 3374"/>
                <a:gd name="T5" fmla="*/ 2181 h 2181"/>
                <a:gd name="T6" fmla="*/ 3374 w 3374"/>
                <a:gd name="T7" fmla="*/ 782 h 2181"/>
                <a:gd name="T8" fmla="*/ 3374 w 3374"/>
                <a:gd name="T9" fmla="*/ 0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0"/>
                  </a:moveTo>
                  <a:lnTo>
                    <a:pt x="0" y="1398"/>
                  </a:lnTo>
                  <a:lnTo>
                    <a:pt x="0" y="2181"/>
                  </a:lnTo>
                  <a:lnTo>
                    <a:pt x="3374" y="782"/>
                  </a:lnTo>
                  <a:lnTo>
                    <a:pt x="3374" y="0"/>
                  </a:lnTo>
                  <a:close/>
                </a:path>
              </a:pathLst>
            </a:custGeom>
            <a:gradFill>
              <a:gsLst>
                <a:gs pos="7000">
                  <a:srgbClr val="A100FF"/>
                </a:gs>
                <a:gs pos="100000">
                  <a:srgbClr val="5F0095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07038D2D-6F85-452C-999B-603F8D36B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539" y="1675327"/>
              <a:ext cx="1371229" cy="886381"/>
            </a:xfrm>
            <a:custGeom>
              <a:avLst/>
              <a:gdLst>
                <a:gd name="T0" fmla="*/ 3374 w 3374"/>
                <a:gd name="T1" fmla="*/ 2181 h 2181"/>
                <a:gd name="T2" fmla="*/ 0 w 3374"/>
                <a:gd name="T3" fmla="*/ 782 h 2181"/>
                <a:gd name="T4" fmla="*/ 0 w 3374"/>
                <a:gd name="T5" fmla="*/ 0 h 2181"/>
                <a:gd name="T6" fmla="*/ 3374 w 3374"/>
                <a:gd name="T7" fmla="*/ 1399 h 2181"/>
                <a:gd name="T8" fmla="*/ 3374 w 3374"/>
                <a:gd name="T9" fmla="*/ 2181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2181"/>
                  </a:moveTo>
                  <a:lnTo>
                    <a:pt x="0" y="782"/>
                  </a:lnTo>
                  <a:lnTo>
                    <a:pt x="0" y="0"/>
                  </a:lnTo>
                  <a:lnTo>
                    <a:pt x="3374" y="1399"/>
                  </a:lnTo>
                  <a:lnTo>
                    <a:pt x="3374" y="2181"/>
                  </a:lnTo>
                  <a:close/>
                </a:path>
              </a:pathLst>
            </a:custGeom>
            <a:solidFill>
              <a:srgbClr val="A100FF"/>
            </a:solidFill>
            <a:ln w="65088" cap="rnd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" name="Group 4">
            <a:extLst>
              <a:ext uri="{FF2B5EF4-FFF2-40B4-BE49-F238E27FC236}">
                <a16:creationId xmlns:a16="http://schemas.microsoft.com/office/drawing/2014/main" id="{432D14EB-EBF3-4AD2-9834-5077C45756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136499" y="5846780"/>
            <a:ext cx="2250858" cy="604157"/>
            <a:chOff x="9563100" y="1673029"/>
            <a:chExt cx="1389888" cy="373063"/>
          </a:xfrm>
        </p:grpSpPr>
        <p:pic>
          <p:nvPicPr>
            <p:cNvPr id="13" name="Picture 5">
              <a:extLst>
                <a:ext uri="{FF2B5EF4-FFF2-40B4-BE49-F238E27FC236}">
                  <a16:creationId xmlns:a16="http://schemas.microsoft.com/office/drawing/2014/main" id="{771E51E6-1FF7-4670-B118-1DC4EF4734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EBD7567B-5C24-4499-85F8-C4116A8A7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2842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0" pos="600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20964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" name="think-cell スライド" r:id="rId5" imgW="470" imgH="469" progId="TCLayout.ActiveDocument.1">
                  <p:embed/>
                </p:oleObj>
              </mc:Choice>
              <mc:Fallback>
                <p:oleObj name="think-cell スライド" r:id="rId5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CA469BE0-C4DD-4A81-90A8-F38AF1A7F08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28000" cy="4207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dirty="0"/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488504" y="944949"/>
            <a:ext cx="8928000" cy="669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defTabSz="990546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 marL="644525" indent="-285750">
              <a:buFont typeface="Wingdings" panose="05000000000000000000" pitchFamily="2" charset="2"/>
              <a:buChar char="p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 marL="1004888" indent="-285750">
              <a:buFont typeface="Arial" panose="020B0604020202020204" pitchFamily="34" charset="0"/>
              <a:buChar char="•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 marL="1363662" indent="-285750">
              <a:buFont typeface="Meiryo UI" panose="020B0604030504040204" pitchFamily="50" charset="-128"/>
              <a:buChar char="–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 marL="1436687" indent="0">
              <a:buNone/>
              <a:defRPr lang="ja-JP" altLang="en-US" dirty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5pPr>
          </a:lstStyle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22" name="テキスト プレースホルダー 21"/>
          <p:cNvSpPr>
            <a:spLocks noGrp="1"/>
          </p:cNvSpPr>
          <p:nvPr userDrawn="1">
            <p:ph type="body" sz="quarter" idx="13"/>
          </p:nvPr>
        </p:nvSpPr>
        <p:spPr>
          <a:xfrm>
            <a:off x="488504" y="77844"/>
            <a:ext cx="8928000" cy="36933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ja-JP" altLang="en-US" b="1" dirty="0"/>
            </a:lvl1pPr>
          </a:lstStyle>
          <a:p>
            <a:pPr lvl="0">
              <a:spcBef>
                <a:spcPts val="325"/>
              </a:spcBef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B7C929D-1B27-411A-B169-9CD824DB33C9}"/>
              </a:ext>
            </a:extLst>
          </p:cNvPr>
          <p:cNvSpPr txBox="1"/>
          <p:nvPr userDrawn="1"/>
        </p:nvSpPr>
        <p:spPr>
          <a:xfrm>
            <a:off x="9562037" y="6623714"/>
            <a:ext cx="287507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00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pPr algn="ctr"/>
              <a:t>‹#›</a:t>
            </a:fld>
            <a:endParaRPr kumimoji="1" lang="ja-JP" altLang="en-US" sz="1000" i="1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D41F5FA2-0936-4D2B-80C3-C7885430F3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456" y="6596842"/>
            <a:ext cx="1149674" cy="216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680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panose="020B0600070205080204" pitchFamily="50" charset="-128"/>
              </a:rPr>
              <a:t>All Rights Reserved</a:t>
            </a:r>
            <a:endParaRPr kumimoji="0" lang="en-US" altLang="ja-JP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68311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2">
            <a:extLst>
              <a:ext uri="{FF2B5EF4-FFF2-40B4-BE49-F238E27FC236}">
                <a16:creationId xmlns:a16="http://schemas.microsoft.com/office/drawing/2014/main" id="{9A1B4E06-7674-44E6-8FF8-E12F70DE8A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5442" y="5352776"/>
            <a:ext cx="5383660" cy="380480"/>
          </a:xfrm>
          <a:prstGeom prst="rect">
            <a:avLst/>
          </a:prstGeom>
        </p:spPr>
        <p:txBody>
          <a:bodyPr lIns="36000" tIns="36000" rIns="36000" bIns="3600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400" b="1" kern="1200" spc="0" baseline="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/>
              <a:t>YYYY/MM/DD</a:t>
            </a:r>
            <a:r>
              <a:rPr lang="en-US" altLang="ja-JP"/>
              <a:t> (24pt, Bold)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BFDB7CC-3A36-463F-9D3D-3A0E76A1AA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5442" y="2375692"/>
            <a:ext cx="6679806" cy="1125316"/>
          </a:xfrm>
          <a:prstGeom prst="rect">
            <a:avLst/>
          </a:prstGeom>
        </p:spPr>
        <p:txBody>
          <a:bodyPr lIns="36000" tIns="36000" rIns="36000" bIns="36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kumimoji="1" lang="en-GB" sz="3200" b="1" kern="1200" spc="0" baseline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</a:pPr>
            <a:r>
              <a:rPr lang="ja-JP" altLang="en-US"/>
              <a:t>プロジェクト名</a:t>
            </a:r>
            <a:r>
              <a:rPr lang="en-US" altLang="ja-JP"/>
              <a:t>(32pt, Bold)</a:t>
            </a:r>
            <a:endParaRPr lang="en-GB"/>
          </a:p>
        </p:txBody>
      </p:sp>
      <p:sp>
        <p:nvSpPr>
          <p:cNvPr id="17" name="Text Placeholder 32">
            <a:extLst>
              <a:ext uri="{FF2B5EF4-FFF2-40B4-BE49-F238E27FC236}">
                <a16:creationId xmlns:a16="http://schemas.microsoft.com/office/drawing/2014/main" id="{414E02E7-3A5E-4E56-BE45-68E91CEAAC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442" y="587421"/>
            <a:ext cx="5383660" cy="442035"/>
          </a:xfrm>
          <a:prstGeom prst="rect">
            <a:avLst/>
          </a:prstGeom>
        </p:spPr>
        <p:txBody>
          <a:bodyPr lIns="36000" tIns="36000" rIns="36000" bIns="3600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400" b="1" kern="1200" spc="0" baseline="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ja-JP" altLang="en-US"/>
              <a:t>企業名 </a:t>
            </a:r>
            <a:r>
              <a:rPr lang="en-US" altLang="ja-JP"/>
              <a:t>or </a:t>
            </a:r>
            <a:r>
              <a:rPr lang="ja-JP" altLang="en-US"/>
              <a:t>企業ロゴ </a:t>
            </a:r>
            <a:r>
              <a:rPr lang="en-US" altLang="ja-JP"/>
              <a:t>(24pt, Bold)</a:t>
            </a:r>
            <a:endParaRPr lang="en-US"/>
          </a:p>
        </p:txBody>
      </p:sp>
      <p:grpSp>
        <p:nvGrpSpPr>
          <p:cNvPr id="7" name="Group 10">
            <a:extLst>
              <a:ext uri="{FF2B5EF4-FFF2-40B4-BE49-F238E27FC236}">
                <a16:creationId xmlns:a16="http://schemas.microsoft.com/office/drawing/2014/main" id="{7795A621-E21B-4068-8C0C-431393E75FB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320042" y="955525"/>
            <a:ext cx="4311191" cy="4573173"/>
            <a:chOff x="3494539" y="1675327"/>
            <a:chExt cx="1371600" cy="145495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3364B04B-A4DC-4696-B400-45BA9DF8B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910" y="2243896"/>
              <a:ext cx="1371229" cy="886381"/>
            </a:xfrm>
            <a:custGeom>
              <a:avLst/>
              <a:gdLst>
                <a:gd name="T0" fmla="*/ 3374 w 3374"/>
                <a:gd name="T1" fmla="*/ 0 h 2181"/>
                <a:gd name="T2" fmla="*/ 0 w 3374"/>
                <a:gd name="T3" fmla="*/ 1398 h 2181"/>
                <a:gd name="T4" fmla="*/ 0 w 3374"/>
                <a:gd name="T5" fmla="*/ 2181 h 2181"/>
                <a:gd name="T6" fmla="*/ 3374 w 3374"/>
                <a:gd name="T7" fmla="*/ 782 h 2181"/>
                <a:gd name="T8" fmla="*/ 3374 w 3374"/>
                <a:gd name="T9" fmla="*/ 0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0"/>
                  </a:moveTo>
                  <a:lnTo>
                    <a:pt x="0" y="1398"/>
                  </a:lnTo>
                  <a:lnTo>
                    <a:pt x="0" y="2181"/>
                  </a:lnTo>
                  <a:lnTo>
                    <a:pt x="3374" y="782"/>
                  </a:lnTo>
                  <a:lnTo>
                    <a:pt x="3374" y="0"/>
                  </a:lnTo>
                  <a:close/>
                </a:path>
              </a:pathLst>
            </a:custGeom>
            <a:gradFill>
              <a:gsLst>
                <a:gs pos="7000">
                  <a:srgbClr val="A100FF"/>
                </a:gs>
                <a:gs pos="100000">
                  <a:srgbClr val="5F0095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07038D2D-6F85-452C-999B-603F8D36B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539" y="1675327"/>
              <a:ext cx="1371229" cy="886381"/>
            </a:xfrm>
            <a:custGeom>
              <a:avLst/>
              <a:gdLst>
                <a:gd name="T0" fmla="*/ 3374 w 3374"/>
                <a:gd name="T1" fmla="*/ 2181 h 2181"/>
                <a:gd name="T2" fmla="*/ 0 w 3374"/>
                <a:gd name="T3" fmla="*/ 782 h 2181"/>
                <a:gd name="T4" fmla="*/ 0 w 3374"/>
                <a:gd name="T5" fmla="*/ 0 h 2181"/>
                <a:gd name="T6" fmla="*/ 3374 w 3374"/>
                <a:gd name="T7" fmla="*/ 1399 h 2181"/>
                <a:gd name="T8" fmla="*/ 3374 w 3374"/>
                <a:gd name="T9" fmla="*/ 2181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2181"/>
                  </a:moveTo>
                  <a:lnTo>
                    <a:pt x="0" y="782"/>
                  </a:lnTo>
                  <a:lnTo>
                    <a:pt x="0" y="0"/>
                  </a:lnTo>
                  <a:lnTo>
                    <a:pt x="3374" y="1399"/>
                  </a:lnTo>
                  <a:lnTo>
                    <a:pt x="3374" y="2181"/>
                  </a:lnTo>
                  <a:close/>
                </a:path>
              </a:pathLst>
            </a:custGeom>
            <a:solidFill>
              <a:srgbClr val="A100FF"/>
            </a:solidFill>
            <a:ln w="65088" cap="rnd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" name="Group 4">
            <a:extLst>
              <a:ext uri="{FF2B5EF4-FFF2-40B4-BE49-F238E27FC236}">
                <a16:creationId xmlns:a16="http://schemas.microsoft.com/office/drawing/2014/main" id="{432D14EB-EBF3-4AD2-9834-5077C45756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136499" y="5846780"/>
            <a:ext cx="2250858" cy="604157"/>
            <a:chOff x="9563100" y="1673029"/>
            <a:chExt cx="1389888" cy="373063"/>
          </a:xfrm>
        </p:grpSpPr>
        <p:pic>
          <p:nvPicPr>
            <p:cNvPr id="13" name="Picture 5">
              <a:extLst>
                <a:ext uri="{FF2B5EF4-FFF2-40B4-BE49-F238E27FC236}">
                  <a16:creationId xmlns:a16="http://schemas.microsoft.com/office/drawing/2014/main" id="{771E51E6-1FF7-4670-B118-1DC4EF4734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EBD7567B-5C24-4499-85F8-C4116A8A7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55532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0" pos="600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011605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スライド" r:id="rId5" imgW="470" imgH="469" progId="TCLayout.ActiveDocument.1">
                  <p:embed/>
                </p:oleObj>
              </mc:Choice>
              <mc:Fallback>
                <p:oleObj name="think-cell スライド" r:id="rId5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CA469BE0-C4DD-4A81-90A8-F38AF1A7F08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28000" cy="4207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dirty="0"/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488504" y="944949"/>
            <a:ext cx="8928000" cy="669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defTabSz="990546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 marL="644525" indent="-285750">
              <a:buFont typeface="Wingdings" panose="05000000000000000000" pitchFamily="2" charset="2"/>
              <a:buChar char="p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 marL="1004888" indent="-285750">
              <a:buFont typeface="Arial" panose="020B0604020202020204" pitchFamily="34" charset="0"/>
              <a:buChar char="•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 marL="1363662" indent="-285750">
              <a:buFont typeface="Meiryo UI" panose="020B0604030504040204" pitchFamily="50" charset="-128"/>
              <a:buChar char="–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 marL="1436687" indent="0">
              <a:buNone/>
              <a:defRPr lang="ja-JP" altLang="en-US" dirty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5pPr>
          </a:lstStyle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22" name="テキスト プレースホルダー 21"/>
          <p:cNvSpPr>
            <a:spLocks noGrp="1"/>
          </p:cNvSpPr>
          <p:nvPr userDrawn="1">
            <p:ph type="body" sz="quarter" idx="13"/>
          </p:nvPr>
        </p:nvSpPr>
        <p:spPr>
          <a:xfrm>
            <a:off x="488504" y="77844"/>
            <a:ext cx="8928000" cy="36933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ja-JP" altLang="en-US" b="1" dirty="0"/>
            </a:lvl1pPr>
          </a:lstStyle>
          <a:p>
            <a:pPr lvl="0">
              <a:spcBef>
                <a:spcPts val="325"/>
              </a:spcBef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B7C929D-1B27-411A-B169-9CD824DB33C9}"/>
              </a:ext>
            </a:extLst>
          </p:cNvPr>
          <p:cNvSpPr txBox="1"/>
          <p:nvPr userDrawn="1"/>
        </p:nvSpPr>
        <p:spPr>
          <a:xfrm>
            <a:off x="9562037" y="6623714"/>
            <a:ext cx="287507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00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pPr algn="ctr"/>
              <a:t>‹#›</a:t>
            </a:fld>
            <a:endParaRPr kumimoji="1" lang="ja-JP" altLang="en-US" sz="1000" i="1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D41F5FA2-0936-4D2B-80C3-C7885430F3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456" y="6596842"/>
            <a:ext cx="1149674" cy="216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680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panose="020B0600070205080204" pitchFamily="50" charset="-128"/>
              </a:rPr>
              <a:t>All Rights Reserved</a:t>
            </a:r>
            <a:endParaRPr kumimoji="0" lang="en-US" altLang="ja-JP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238775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107682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スライド" r:id="rId5" imgW="470" imgH="469" progId="TCLayout.ActiveDocument.1">
                  <p:embed/>
                </p:oleObj>
              </mc:Choice>
              <mc:Fallback>
                <p:oleObj name="think-cell スライド" r:id="rId5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CA469BE0-C4DD-4A81-90A8-F38AF1A7F08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28000" cy="4207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dirty="0"/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488504" y="944949"/>
            <a:ext cx="8928000" cy="669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defTabSz="990546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 marL="644525" indent="-285750">
              <a:buFont typeface="Wingdings" panose="05000000000000000000" pitchFamily="2" charset="2"/>
              <a:buChar char="p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 marL="1004888" indent="-285750">
              <a:buFont typeface="Arial" panose="020B0604020202020204" pitchFamily="34" charset="0"/>
              <a:buChar char="•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 marL="1363662" indent="-285750">
              <a:buFont typeface="Meiryo UI" panose="020B0604030504040204" pitchFamily="50" charset="-128"/>
              <a:buChar char="–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 marL="1436687" indent="0">
              <a:buNone/>
              <a:defRPr lang="ja-JP" altLang="en-US" dirty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5pPr>
          </a:lstStyle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22" name="テキスト プレースホルダー 21"/>
          <p:cNvSpPr>
            <a:spLocks noGrp="1"/>
          </p:cNvSpPr>
          <p:nvPr userDrawn="1">
            <p:ph type="body" sz="quarter" idx="13"/>
          </p:nvPr>
        </p:nvSpPr>
        <p:spPr>
          <a:xfrm>
            <a:off x="488504" y="77844"/>
            <a:ext cx="8928000" cy="36933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ja-JP" altLang="en-US" b="1" dirty="0"/>
            </a:lvl1pPr>
          </a:lstStyle>
          <a:p>
            <a:pPr lvl="0">
              <a:spcBef>
                <a:spcPts val="325"/>
              </a:spcBef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B7C929D-1B27-411A-B169-9CD824DB33C9}"/>
              </a:ext>
            </a:extLst>
          </p:cNvPr>
          <p:cNvSpPr txBox="1"/>
          <p:nvPr userDrawn="1"/>
        </p:nvSpPr>
        <p:spPr>
          <a:xfrm>
            <a:off x="9562037" y="6623714"/>
            <a:ext cx="287507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00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pPr algn="ctr"/>
              <a:t>‹#›</a:t>
            </a:fld>
            <a:endParaRPr kumimoji="1" lang="ja-JP" altLang="en-US" sz="1000" i="1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D41F5FA2-0936-4D2B-80C3-C7885430F3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456" y="6596842"/>
            <a:ext cx="1149674" cy="216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680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panose="020B0600070205080204" pitchFamily="50" charset="-128"/>
              </a:rPr>
              <a:t>All Rights Reserved</a:t>
            </a:r>
            <a:endParaRPr kumimoji="0" lang="en-US" altLang="ja-JP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746813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5960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スライド" r:id="rId5" imgW="470" imgH="469" progId="TCLayout.ActiveDocument.1">
                  <p:embed/>
                </p:oleObj>
              </mc:Choice>
              <mc:Fallback>
                <p:oleObj name="think-cell スライド" r:id="rId5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CA469BE0-C4DD-4A81-90A8-F38AF1A7F08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88504" y="476672"/>
            <a:ext cx="8928000" cy="4207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dirty="0"/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488504" y="944949"/>
            <a:ext cx="8928000" cy="6694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defTabSz="990546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 marL="644525" indent="-285750">
              <a:buFont typeface="Wingdings" panose="05000000000000000000" pitchFamily="2" charset="2"/>
              <a:buChar char="p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 marL="1004888" indent="-285750">
              <a:buFont typeface="Arial" panose="020B0604020202020204" pitchFamily="34" charset="0"/>
              <a:buChar char="•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 marL="1363662" indent="-285750">
              <a:buFont typeface="Meiryo UI" panose="020B0604030504040204" pitchFamily="50" charset="-128"/>
              <a:buChar char="–"/>
              <a:def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 marL="1436687" indent="0">
              <a:buNone/>
              <a:defRPr lang="ja-JP" altLang="en-US" dirty="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5pPr>
          </a:lstStyle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22" name="テキスト プレースホルダー 21"/>
          <p:cNvSpPr>
            <a:spLocks noGrp="1"/>
          </p:cNvSpPr>
          <p:nvPr userDrawn="1">
            <p:ph type="body" sz="quarter" idx="13"/>
          </p:nvPr>
        </p:nvSpPr>
        <p:spPr>
          <a:xfrm>
            <a:off x="488504" y="77844"/>
            <a:ext cx="8928000" cy="36933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ja-JP" altLang="en-US" b="1" dirty="0"/>
            </a:lvl1pPr>
          </a:lstStyle>
          <a:p>
            <a:pPr lvl="0">
              <a:spcBef>
                <a:spcPts val="325"/>
              </a:spcBef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B7C929D-1B27-411A-B169-9CD824DB33C9}"/>
              </a:ext>
            </a:extLst>
          </p:cNvPr>
          <p:cNvSpPr txBox="1"/>
          <p:nvPr userDrawn="1"/>
        </p:nvSpPr>
        <p:spPr>
          <a:xfrm>
            <a:off x="9562037" y="6623714"/>
            <a:ext cx="287507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00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pPr algn="ctr"/>
              <a:t>‹#›</a:t>
            </a:fld>
            <a:endParaRPr kumimoji="1" lang="ja-JP" altLang="en-US" sz="1000" i="1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18" name="Rectangle 67">
            <a:extLst>
              <a:ext uri="{FF2B5EF4-FFF2-40B4-BE49-F238E27FC236}">
                <a16:creationId xmlns:a16="http://schemas.microsoft.com/office/drawing/2014/main" id="{D41F5FA2-0936-4D2B-80C3-C7885430F3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456" y="6596842"/>
            <a:ext cx="1149674" cy="216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680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panose="020B0600070205080204" pitchFamily="50" charset="-128"/>
              </a:rPr>
              <a:t>All Rights Reserved</a:t>
            </a:r>
            <a:endParaRPr kumimoji="0" lang="en-US" altLang="ja-JP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59696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コンテンツテンプレート_1カラム*メッセージラインエリア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1"/>
            <a:ext cx="9024226" cy="8134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4"/>
          </p:nvPr>
        </p:nvSpPr>
        <p:spPr>
          <a:xfrm>
            <a:off x="504528" y="1695060"/>
            <a:ext cx="8896947" cy="4650821"/>
          </a:xfrm>
        </p:spPr>
        <p:txBody>
          <a:bodyPr/>
          <a:lstStyle>
            <a:lvl1pPr marL="196011" indent="-196011">
              <a:lnSpc>
                <a:spcPct val="120000"/>
              </a:lnSpc>
              <a:buClr>
                <a:schemeClr val="accent1"/>
              </a:buClr>
              <a:buSzPct val="100000"/>
              <a:buFont typeface="Wingdings" charset="2"/>
              <a:buChar char="Ø"/>
              <a:tabLst/>
              <a:defRPr sz="1732" b="0" i="0">
                <a:solidFill>
                  <a:schemeClr val="tx1">
                    <a:lumMod val="85000"/>
                    <a:lumOff val="1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388582" indent="-190852">
              <a:lnSpc>
                <a:spcPct val="120000"/>
              </a:lnSpc>
              <a:buClr>
                <a:schemeClr val="accent1"/>
              </a:buClr>
              <a:buFont typeface="Wingdings" charset="2"/>
              <a:buChar char="§"/>
              <a:tabLst/>
              <a:defRPr sz="1517" b="0" i="0">
                <a:solidFill>
                  <a:schemeClr val="tx1">
                    <a:lumMod val="85000"/>
                    <a:lumOff val="1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632738" indent="-146148">
              <a:lnSpc>
                <a:spcPct val="120000"/>
              </a:lnSpc>
              <a:buClr>
                <a:schemeClr val="accent1"/>
              </a:buClr>
              <a:buFont typeface="Wingdings" charset="2"/>
              <a:buChar char="§"/>
              <a:tabLst/>
              <a:defRPr sz="1300" b="0" i="0">
                <a:solidFill>
                  <a:schemeClr val="tx1">
                    <a:lumMod val="85000"/>
                    <a:lumOff val="1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866574" indent="-189134">
              <a:lnSpc>
                <a:spcPct val="120000"/>
              </a:lnSpc>
              <a:buClr>
                <a:schemeClr val="accent1"/>
              </a:buClr>
              <a:buFont typeface="Wingdings" charset="2"/>
              <a:buChar char="§"/>
              <a:tabLst/>
              <a:defRPr sz="1300" b="0" i="0">
                <a:solidFill>
                  <a:schemeClr val="tx1">
                    <a:lumMod val="85000"/>
                    <a:lumOff val="1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1110728" indent="-137553">
              <a:lnSpc>
                <a:spcPct val="120000"/>
              </a:lnSpc>
              <a:buClr>
                <a:schemeClr val="accent1"/>
              </a:buClr>
              <a:buFont typeface="Wingdings" charset="2"/>
              <a:buChar char="§"/>
              <a:tabLst/>
              <a:defRPr sz="1083" b="0" i="0">
                <a:solidFill>
                  <a:schemeClr val="tx1">
                    <a:lumMod val="85000"/>
                    <a:lumOff val="1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AU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9020894" y="12"/>
            <a:ext cx="907104" cy="813411"/>
          </a:xfrm>
          <a:prstGeom prst="rect">
            <a:avLst/>
          </a:prstGeom>
          <a:noFill/>
          <a:ln>
            <a:noFill/>
          </a:ln>
          <a:effectLst>
            <a:outerShdw blurRad="50800" dist="762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1"/>
            <a:ext cx="9024226" cy="813411"/>
          </a:xfrm>
          <a:noFill/>
        </p:spPr>
        <p:txBody>
          <a:bodyPr lIns="180000" tIns="0" rIns="180000" anchor="ctr"/>
          <a:lstStyle>
            <a:lvl1pPr>
              <a:defRPr b="1" i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504528" y="908827"/>
            <a:ext cx="8896947" cy="639249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1951">
                <a:solidFill>
                  <a:srgbClr val="0D0D0D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FC93477-2350-4FB3-A092-183B8388C95A}"/>
              </a:ext>
            </a:extLst>
          </p:cNvPr>
          <p:cNvSpPr txBox="1"/>
          <p:nvPr userDrawn="1"/>
        </p:nvSpPr>
        <p:spPr>
          <a:xfrm>
            <a:off x="9562037" y="6623714"/>
            <a:ext cx="287507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00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pPr algn="ctr"/>
              <a:t>‹#›</a:t>
            </a:fld>
            <a:endParaRPr kumimoji="1" lang="ja-JP" altLang="en-US" sz="1000" i="1" dirty="0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21" name="Rectangle 67">
            <a:extLst>
              <a:ext uri="{FF2B5EF4-FFF2-40B4-BE49-F238E27FC236}">
                <a16:creationId xmlns:a16="http://schemas.microsoft.com/office/drawing/2014/main" id="{BF507E73-A339-4EF9-8056-C3F4100F8A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456" y="6596842"/>
            <a:ext cx="1088760" cy="216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680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panose="020B0600070205080204" pitchFamily="50" charset="-128"/>
              </a:rPr>
              <a:t>All Rights Reserved</a:t>
            </a:r>
            <a:endParaRPr kumimoji="0" lang="en-US" altLang="ja-JP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48717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1" userDrawn="1">
          <p15:clr>
            <a:srgbClr val="FBAE40"/>
          </p15:clr>
        </p15:guide>
        <p15:guide id="3" pos="317" userDrawn="1">
          <p15:clr>
            <a:srgbClr val="FBAE40"/>
          </p15:clr>
        </p15:guide>
        <p15:guide id="4" pos="5923" userDrawn="1">
          <p15:clr>
            <a:srgbClr val="FBAE40"/>
          </p15:clr>
        </p15:guide>
        <p15:guide id="5" orient="horz" pos="3997" userDrawn="1">
          <p15:clr>
            <a:srgbClr val="FBAE40"/>
          </p15:clr>
        </p15:guide>
        <p15:guide id="6" orient="horz" pos="57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" y="8"/>
            <a:ext cx="9905999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67">
            <a:extLst>
              <a:ext uri="{FF2B5EF4-FFF2-40B4-BE49-F238E27FC236}">
                <a16:creationId xmlns:a16="http://schemas.microsoft.com/office/drawing/2014/main" id="{7BD2A787-68B8-4480-8A34-5262732A37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456" y="6596842"/>
            <a:ext cx="1117614" cy="216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680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ＭＳ Ｐゴシック" panose="020B0600070205080204" pitchFamily="50" charset="-128"/>
              </a:rPr>
              <a:t>All Rights </a:t>
            </a:r>
            <a:r>
              <a:rPr kumimoji="0" lang="en-US" altLang="ja-JP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</a:rPr>
              <a:t>Reserved.</a:t>
            </a:r>
            <a:endParaRPr kumimoji="0" lang="en-US" altLang="ja-JP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11927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6050633" y="939274"/>
            <a:ext cx="3502843" cy="4573173"/>
            <a:chOff x="3494539" y="1675327"/>
            <a:chExt cx="1371600" cy="1454950"/>
          </a:xfrm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3494910" y="2243896"/>
              <a:ext cx="1371229" cy="886381"/>
            </a:xfrm>
            <a:custGeom>
              <a:avLst/>
              <a:gdLst>
                <a:gd name="T0" fmla="*/ 3374 w 3374"/>
                <a:gd name="T1" fmla="*/ 0 h 2181"/>
                <a:gd name="T2" fmla="*/ 0 w 3374"/>
                <a:gd name="T3" fmla="*/ 1398 h 2181"/>
                <a:gd name="T4" fmla="*/ 0 w 3374"/>
                <a:gd name="T5" fmla="*/ 2181 h 2181"/>
                <a:gd name="T6" fmla="*/ 3374 w 3374"/>
                <a:gd name="T7" fmla="*/ 782 h 2181"/>
                <a:gd name="T8" fmla="*/ 3374 w 3374"/>
                <a:gd name="T9" fmla="*/ 0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0"/>
                  </a:moveTo>
                  <a:lnTo>
                    <a:pt x="0" y="1398"/>
                  </a:lnTo>
                  <a:lnTo>
                    <a:pt x="0" y="2181"/>
                  </a:lnTo>
                  <a:lnTo>
                    <a:pt x="3374" y="782"/>
                  </a:lnTo>
                  <a:lnTo>
                    <a:pt x="3374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8" dirty="0">
                <a:solidFill>
                  <a:schemeClr val="lt1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94539" y="1675327"/>
              <a:ext cx="1371229" cy="886381"/>
            </a:xfrm>
            <a:custGeom>
              <a:avLst/>
              <a:gdLst>
                <a:gd name="T0" fmla="*/ 3374 w 3374"/>
                <a:gd name="T1" fmla="*/ 2181 h 2181"/>
                <a:gd name="T2" fmla="*/ 0 w 3374"/>
                <a:gd name="T3" fmla="*/ 782 h 2181"/>
                <a:gd name="T4" fmla="*/ 0 w 3374"/>
                <a:gd name="T5" fmla="*/ 0 h 2181"/>
                <a:gd name="T6" fmla="*/ 3374 w 3374"/>
                <a:gd name="T7" fmla="*/ 1399 h 2181"/>
                <a:gd name="T8" fmla="*/ 3374 w 3374"/>
                <a:gd name="T9" fmla="*/ 2181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2181"/>
                  </a:moveTo>
                  <a:lnTo>
                    <a:pt x="0" y="782"/>
                  </a:lnTo>
                  <a:lnTo>
                    <a:pt x="0" y="0"/>
                  </a:lnTo>
                  <a:lnTo>
                    <a:pt x="3374" y="1399"/>
                  </a:lnTo>
                  <a:lnTo>
                    <a:pt x="3374" y="2181"/>
                  </a:lnTo>
                  <a:close/>
                </a:path>
              </a:pathLst>
            </a:custGeom>
            <a:solidFill>
              <a:srgbClr val="FF9128"/>
            </a:solidFill>
            <a:ln w="65088" cap="rnd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48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9575" y="457204"/>
            <a:ext cx="4643436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496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567" y="3543328"/>
            <a:ext cx="4643438" cy="3162299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433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598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948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5pPr>
            <a:lvl6pPr marL="367743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2126" y="5846631"/>
            <a:ext cx="3501314" cy="668858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C3BF8724-BCA7-4C63-BF6C-963EBCC97F2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9430869" y="6513719"/>
            <a:ext cx="408900" cy="338977"/>
          </a:xfrm>
        </p:spPr>
        <p:txBody>
          <a:bodyPr anchor="ctr"/>
          <a:lstStyle/>
          <a:p>
            <a:pPr algn="ctr"/>
            <a:fld id="{4F9AC08D-23A9-440E-BCB9-AA1E9877CC38}" type="slidenum">
              <a:rPr lang="en-US" sz="1732" smtClean="0">
                <a:solidFill>
                  <a:prstClr val="white">
                    <a:lumMod val="65000"/>
                  </a:prstClr>
                </a:solidFill>
              </a:rPr>
              <a:pPr algn="ctr"/>
              <a:t>‹#›</a:t>
            </a:fld>
            <a:endParaRPr lang="en-US" sz="1732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939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6030314" y="942733"/>
            <a:ext cx="3521449" cy="4597464"/>
            <a:chOff x="3494539" y="1675327"/>
            <a:chExt cx="1371600" cy="1454950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3494910" y="2243896"/>
              <a:ext cx="1371229" cy="886381"/>
            </a:xfrm>
            <a:custGeom>
              <a:avLst/>
              <a:gdLst>
                <a:gd name="T0" fmla="*/ 3374 w 3374"/>
                <a:gd name="T1" fmla="*/ 0 h 2181"/>
                <a:gd name="T2" fmla="*/ 0 w 3374"/>
                <a:gd name="T3" fmla="*/ 1398 h 2181"/>
                <a:gd name="T4" fmla="*/ 0 w 3374"/>
                <a:gd name="T5" fmla="*/ 2181 h 2181"/>
                <a:gd name="T6" fmla="*/ 3374 w 3374"/>
                <a:gd name="T7" fmla="*/ 782 h 2181"/>
                <a:gd name="T8" fmla="*/ 3374 w 3374"/>
                <a:gd name="T9" fmla="*/ 0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0"/>
                  </a:moveTo>
                  <a:lnTo>
                    <a:pt x="0" y="1398"/>
                  </a:lnTo>
                  <a:lnTo>
                    <a:pt x="0" y="2181"/>
                  </a:lnTo>
                  <a:lnTo>
                    <a:pt x="3374" y="782"/>
                  </a:lnTo>
                  <a:lnTo>
                    <a:pt x="3374" y="0"/>
                  </a:lnTo>
                  <a:close/>
                </a:path>
              </a:pathLst>
            </a:custGeom>
            <a:gradFill>
              <a:gsLst>
                <a:gs pos="7000">
                  <a:srgbClr val="A100FF"/>
                </a:gs>
                <a:gs pos="100000">
                  <a:srgbClr val="5F0095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8" dirty="0">
                <a:solidFill>
                  <a:schemeClr val="lt1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94539" y="1675327"/>
              <a:ext cx="1371229" cy="886381"/>
            </a:xfrm>
            <a:custGeom>
              <a:avLst/>
              <a:gdLst>
                <a:gd name="T0" fmla="*/ 3374 w 3374"/>
                <a:gd name="T1" fmla="*/ 2181 h 2181"/>
                <a:gd name="T2" fmla="*/ 0 w 3374"/>
                <a:gd name="T3" fmla="*/ 782 h 2181"/>
                <a:gd name="T4" fmla="*/ 0 w 3374"/>
                <a:gd name="T5" fmla="*/ 0 h 2181"/>
                <a:gd name="T6" fmla="*/ 3374 w 3374"/>
                <a:gd name="T7" fmla="*/ 1399 h 2181"/>
                <a:gd name="T8" fmla="*/ 3374 w 3374"/>
                <a:gd name="T9" fmla="*/ 2181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2181"/>
                  </a:moveTo>
                  <a:lnTo>
                    <a:pt x="0" y="782"/>
                  </a:lnTo>
                  <a:lnTo>
                    <a:pt x="0" y="0"/>
                  </a:lnTo>
                  <a:lnTo>
                    <a:pt x="3374" y="1399"/>
                  </a:lnTo>
                  <a:lnTo>
                    <a:pt x="3374" y="2181"/>
                  </a:lnTo>
                  <a:close/>
                </a:path>
              </a:pathLst>
            </a:custGeom>
            <a:solidFill>
              <a:srgbClr val="A100FF"/>
            </a:solidFill>
            <a:ln w="65088" cap="rnd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48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9575" y="457204"/>
            <a:ext cx="4643436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496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567" y="3543328"/>
            <a:ext cx="4643438" cy="3162299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433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598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948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5pPr>
            <a:lvl6pPr marL="367743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3064" y="5818935"/>
            <a:ext cx="3626265" cy="692727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84BE969B-ED67-414D-BF69-B38573E3136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9430869" y="6513719"/>
            <a:ext cx="408900" cy="338977"/>
          </a:xfrm>
        </p:spPr>
        <p:txBody>
          <a:bodyPr anchor="ctr"/>
          <a:lstStyle/>
          <a:p>
            <a:pPr algn="ctr"/>
            <a:fld id="{4F9AC08D-23A9-440E-BCB9-AA1E9877CC38}" type="slidenum">
              <a:rPr lang="en-US" sz="1732" smtClean="0">
                <a:solidFill>
                  <a:prstClr val="white">
                    <a:lumMod val="65000"/>
                  </a:prstClr>
                </a:solidFill>
              </a:rPr>
              <a:pPr algn="ctr"/>
              <a:t>‹#›</a:t>
            </a:fld>
            <a:endParaRPr lang="en-US" sz="1732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FB92B99B-7EAF-4F70-A6DE-8114286424C8}"/>
              </a:ext>
            </a:extLst>
          </p:cNvPr>
          <p:cNvSpPr txBox="1">
            <a:spLocks/>
          </p:cNvSpPr>
          <p:nvPr userDrawn="1"/>
        </p:nvSpPr>
        <p:spPr>
          <a:xfrm flipH="1">
            <a:off x="70993" y="6577740"/>
            <a:ext cx="4359953" cy="161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98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4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9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46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960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453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94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83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27359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122" userDrawn="1">
          <p15:clr>
            <a:srgbClr val="FBAE40"/>
          </p15:clr>
        </p15:guide>
        <p15:guide id="3" pos="48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White Centere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157499" y="939274"/>
            <a:ext cx="3502843" cy="4573173"/>
            <a:chOff x="3494539" y="1675327"/>
            <a:chExt cx="1371600" cy="1454950"/>
          </a:xfrm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3494910" y="2243896"/>
              <a:ext cx="1371229" cy="886381"/>
            </a:xfrm>
            <a:custGeom>
              <a:avLst/>
              <a:gdLst>
                <a:gd name="T0" fmla="*/ 3374 w 3374"/>
                <a:gd name="T1" fmla="*/ 0 h 2181"/>
                <a:gd name="T2" fmla="*/ 0 w 3374"/>
                <a:gd name="T3" fmla="*/ 1398 h 2181"/>
                <a:gd name="T4" fmla="*/ 0 w 3374"/>
                <a:gd name="T5" fmla="*/ 2181 h 2181"/>
                <a:gd name="T6" fmla="*/ 3374 w 3374"/>
                <a:gd name="T7" fmla="*/ 782 h 2181"/>
                <a:gd name="T8" fmla="*/ 3374 w 3374"/>
                <a:gd name="T9" fmla="*/ 0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0"/>
                  </a:moveTo>
                  <a:lnTo>
                    <a:pt x="0" y="1398"/>
                  </a:lnTo>
                  <a:lnTo>
                    <a:pt x="0" y="2181"/>
                  </a:lnTo>
                  <a:lnTo>
                    <a:pt x="3374" y="782"/>
                  </a:lnTo>
                  <a:lnTo>
                    <a:pt x="3374" y="0"/>
                  </a:lnTo>
                  <a:close/>
                </a:path>
              </a:pathLst>
            </a:custGeom>
            <a:gradFill>
              <a:gsLst>
                <a:gs pos="7000">
                  <a:srgbClr val="A100FF"/>
                </a:gs>
                <a:gs pos="100000">
                  <a:srgbClr val="5F0095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8" dirty="0">
                <a:solidFill>
                  <a:schemeClr val="lt1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3494539" y="1675327"/>
              <a:ext cx="1371229" cy="886381"/>
            </a:xfrm>
            <a:custGeom>
              <a:avLst/>
              <a:gdLst>
                <a:gd name="T0" fmla="*/ 3374 w 3374"/>
                <a:gd name="T1" fmla="*/ 2181 h 2181"/>
                <a:gd name="T2" fmla="*/ 0 w 3374"/>
                <a:gd name="T3" fmla="*/ 782 h 2181"/>
                <a:gd name="T4" fmla="*/ 0 w 3374"/>
                <a:gd name="T5" fmla="*/ 0 h 2181"/>
                <a:gd name="T6" fmla="*/ 3374 w 3374"/>
                <a:gd name="T7" fmla="*/ 1399 h 2181"/>
                <a:gd name="T8" fmla="*/ 3374 w 3374"/>
                <a:gd name="T9" fmla="*/ 2181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4" h="2181">
                  <a:moveTo>
                    <a:pt x="3374" y="2181"/>
                  </a:moveTo>
                  <a:lnTo>
                    <a:pt x="0" y="782"/>
                  </a:lnTo>
                  <a:lnTo>
                    <a:pt x="0" y="0"/>
                  </a:lnTo>
                  <a:lnTo>
                    <a:pt x="3374" y="1399"/>
                  </a:lnTo>
                  <a:lnTo>
                    <a:pt x="3374" y="2181"/>
                  </a:lnTo>
                  <a:close/>
                </a:path>
              </a:pathLst>
            </a:custGeom>
            <a:solidFill>
              <a:srgbClr val="A100FF"/>
            </a:solidFill>
            <a:ln w="65088" cap="rnd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48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2788" y="1936390"/>
            <a:ext cx="3450215" cy="2767405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496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739064" y="436434"/>
            <a:ext cx="1857375" cy="3512127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031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defRPr sz="2165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defRPr sz="1948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50"/>
              </a:spcBef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50"/>
              </a:spcBef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5pPr>
            <a:lvl6pPr marL="367743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1859" y="5846630"/>
            <a:ext cx="3511780" cy="670856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391E199D-DB02-4106-B8F5-F13DEB32C09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9430869" y="6513719"/>
            <a:ext cx="408900" cy="338977"/>
          </a:xfrm>
        </p:spPr>
        <p:txBody>
          <a:bodyPr anchor="ctr"/>
          <a:lstStyle/>
          <a:p>
            <a:pPr algn="ctr"/>
            <a:fld id="{4F9AC08D-23A9-440E-BCB9-AA1E9877CC38}" type="slidenum">
              <a:rPr lang="en-US" sz="1732" smtClean="0">
                <a:solidFill>
                  <a:prstClr val="white">
                    <a:lumMod val="65000"/>
                  </a:prstClr>
                </a:solidFill>
              </a:rPr>
              <a:pPr algn="ctr"/>
              <a:t>‹#›</a:t>
            </a:fld>
            <a:endParaRPr lang="en-US" sz="1732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ADB6ABF-7400-4890-ADA1-7301219F52EB}"/>
              </a:ext>
            </a:extLst>
          </p:cNvPr>
          <p:cNvSpPr txBox="1">
            <a:spLocks/>
          </p:cNvSpPr>
          <p:nvPr userDrawn="1"/>
        </p:nvSpPr>
        <p:spPr>
          <a:xfrm flipH="1">
            <a:off x="70993" y="6577740"/>
            <a:ext cx="4359953" cy="161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98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4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9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46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960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453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94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83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79910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2" userDrawn="1">
          <p15:clr>
            <a:srgbClr val="FBAE40"/>
          </p15:clr>
        </p15:guide>
        <p15:guide id="0" pos="487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White Centere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 noChangeAspect="1"/>
          </p:cNvSpPr>
          <p:nvPr userDrawn="1"/>
        </p:nvSpPr>
        <p:spPr bwMode="auto">
          <a:xfrm>
            <a:off x="3134069" y="924559"/>
            <a:ext cx="3561223" cy="4538866"/>
          </a:xfrm>
          <a:custGeom>
            <a:avLst/>
            <a:gdLst>
              <a:gd name="T0" fmla="*/ 0 w 872"/>
              <a:gd name="T1" fmla="*/ 0 h 903"/>
              <a:gd name="T2" fmla="*/ 0 w 872"/>
              <a:gd name="T3" fmla="*/ 197 h 903"/>
              <a:gd name="T4" fmla="*/ 629 w 872"/>
              <a:gd name="T5" fmla="*/ 451 h 903"/>
              <a:gd name="T6" fmla="*/ 0 w 872"/>
              <a:gd name="T7" fmla="*/ 706 h 903"/>
              <a:gd name="T8" fmla="*/ 0 w 872"/>
              <a:gd name="T9" fmla="*/ 903 h 903"/>
              <a:gd name="T10" fmla="*/ 872 w 872"/>
              <a:gd name="T11" fmla="*/ 550 h 903"/>
              <a:gd name="T12" fmla="*/ 872 w 872"/>
              <a:gd name="T13" fmla="*/ 353 h 903"/>
              <a:gd name="T14" fmla="*/ 0 w 872"/>
              <a:gd name="T15" fmla="*/ 0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72" h="903">
                <a:moveTo>
                  <a:pt x="0" y="0"/>
                </a:moveTo>
                <a:lnTo>
                  <a:pt x="0" y="197"/>
                </a:lnTo>
                <a:lnTo>
                  <a:pt x="629" y="451"/>
                </a:lnTo>
                <a:lnTo>
                  <a:pt x="0" y="706"/>
                </a:lnTo>
                <a:lnTo>
                  <a:pt x="0" y="903"/>
                </a:lnTo>
                <a:lnTo>
                  <a:pt x="872" y="550"/>
                </a:lnTo>
                <a:lnTo>
                  <a:pt x="872" y="3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A100FF"/>
              </a:gs>
              <a:gs pos="100000">
                <a:srgbClr val="5F0095"/>
              </a:gs>
            </a:gsLst>
            <a:lin ang="0" scaled="0"/>
          </a:gradFill>
          <a:ln>
            <a:noFill/>
          </a:ln>
        </p:spPr>
        <p:txBody>
          <a:bodyPr vert="horz" wrap="square" lIns="99004" tIns="49502" rIns="99004" bIns="49502" numCol="1" anchor="t" anchorCtr="0" compatLnSpc="1">
            <a:prstTxWarp prst="textNoShape">
              <a:avLst/>
            </a:prstTxWarp>
          </a:bodyPr>
          <a:lstStyle/>
          <a:p>
            <a:endParaRPr lang="en-US" sz="1948" dirty="0">
              <a:latin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2788" y="1943100"/>
            <a:ext cx="3450215" cy="28575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496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739064" y="436434"/>
            <a:ext cx="1857375" cy="3512127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031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defRPr sz="2165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defRPr sz="1948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50"/>
              </a:spcBef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50"/>
              </a:spcBef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5pPr>
            <a:lvl6pPr marL="367743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1859" y="5846630"/>
            <a:ext cx="3511780" cy="670856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AD05698-75E8-4861-888F-FAFF1190658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9430869" y="6513719"/>
            <a:ext cx="408900" cy="338977"/>
          </a:xfrm>
        </p:spPr>
        <p:txBody>
          <a:bodyPr anchor="ctr"/>
          <a:lstStyle/>
          <a:p>
            <a:pPr algn="ctr"/>
            <a:fld id="{4F9AC08D-23A9-440E-BCB9-AA1E9877CC38}" type="slidenum">
              <a:rPr lang="en-US" sz="1732" smtClean="0">
                <a:solidFill>
                  <a:prstClr val="white">
                    <a:lumMod val="65000"/>
                  </a:prstClr>
                </a:solidFill>
              </a:rPr>
              <a:pPr algn="ctr"/>
              <a:t>‹#›</a:t>
            </a:fld>
            <a:endParaRPr lang="en-US" sz="1732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7D792842-0780-4758-B6F5-2868535001E4}"/>
              </a:ext>
            </a:extLst>
          </p:cNvPr>
          <p:cNvSpPr txBox="1">
            <a:spLocks/>
          </p:cNvSpPr>
          <p:nvPr userDrawn="1"/>
        </p:nvSpPr>
        <p:spPr>
          <a:xfrm flipH="1">
            <a:off x="70993" y="6577740"/>
            <a:ext cx="4359953" cy="161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98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4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9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46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960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453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94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83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8054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2" userDrawn="1">
          <p15:clr>
            <a:srgbClr val="FBAE40"/>
          </p15:clr>
        </p15:guide>
        <p15:guide id="2" pos="487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White Centere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6"/>
          <p:cNvSpPr>
            <a:spLocks noChangeAspect="1"/>
          </p:cNvSpPr>
          <p:nvPr userDrawn="1"/>
        </p:nvSpPr>
        <p:spPr bwMode="auto">
          <a:xfrm>
            <a:off x="3135745" y="888805"/>
            <a:ext cx="3573551" cy="4554576"/>
          </a:xfrm>
          <a:custGeom>
            <a:avLst/>
            <a:gdLst>
              <a:gd name="T0" fmla="*/ 0 w 872"/>
              <a:gd name="T1" fmla="*/ 0 h 903"/>
              <a:gd name="T2" fmla="*/ 0 w 872"/>
              <a:gd name="T3" fmla="*/ 197 h 903"/>
              <a:gd name="T4" fmla="*/ 629 w 872"/>
              <a:gd name="T5" fmla="*/ 451 h 903"/>
              <a:gd name="T6" fmla="*/ 0 w 872"/>
              <a:gd name="T7" fmla="*/ 706 h 903"/>
              <a:gd name="T8" fmla="*/ 0 w 872"/>
              <a:gd name="T9" fmla="*/ 903 h 903"/>
              <a:gd name="T10" fmla="*/ 872 w 872"/>
              <a:gd name="T11" fmla="*/ 550 h 903"/>
              <a:gd name="T12" fmla="*/ 872 w 872"/>
              <a:gd name="T13" fmla="*/ 353 h 903"/>
              <a:gd name="T14" fmla="*/ 0 w 872"/>
              <a:gd name="T15" fmla="*/ 0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72" h="903">
                <a:moveTo>
                  <a:pt x="0" y="0"/>
                </a:moveTo>
                <a:lnTo>
                  <a:pt x="0" y="197"/>
                </a:lnTo>
                <a:lnTo>
                  <a:pt x="629" y="451"/>
                </a:lnTo>
                <a:lnTo>
                  <a:pt x="0" y="706"/>
                </a:lnTo>
                <a:lnTo>
                  <a:pt x="0" y="903"/>
                </a:lnTo>
                <a:lnTo>
                  <a:pt x="872" y="550"/>
                </a:lnTo>
                <a:lnTo>
                  <a:pt x="872" y="353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rgbClr val="A100FF"/>
            </a:solidFill>
          </a:ln>
        </p:spPr>
        <p:txBody>
          <a:bodyPr vert="horz" wrap="square" lIns="99004" tIns="49502" rIns="99004" bIns="49502" numCol="1" anchor="t" anchorCtr="0" compatLnSpc="1">
            <a:prstTxWarp prst="textNoShape">
              <a:avLst/>
            </a:prstTxWarp>
          </a:bodyPr>
          <a:lstStyle/>
          <a:p>
            <a:endParaRPr lang="en-US" sz="1948" dirty="0">
              <a:latin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2788" y="1943100"/>
            <a:ext cx="3450215" cy="28575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496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739064" y="436434"/>
            <a:ext cx="1857375" cy="3512127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031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defRPr sz="2165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defRPr sz="1948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650"/>
              </a:spcBef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650"/>
              </a:spcBef>
              <a:buNone/>
              <a:defRPr sz="1948" b="0" cap="none" baseline="0">
                <a:solidFill>
                  <a:schemeClr val="tx1"/>
                </a:solidFill>
                <a:latin typeface="+mn-lt"/>
              </a:defRPr>
            </a:lvl5pPr>
            <a:lvl6pPr marL="367743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1859" y="5846630"/>
            <a:ext cx="3511780" cy="670856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64BFCCDD-2E18-4021-9B31-F86C43FAC50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9430869" y="6513719"/>
            <a:ext cx="408900" cy="338977"/>
          </a:xfrm>
        </p:spPr>
        <p:txBody>
          <a:bodyPr anchor="ctr"/>
          <a:lstStyle/>
          <a:p>
            <a:pPr algn="ctr"/>
            <a:fld id="{4F9AC08D-23A9-440E-BCB9-AA1E9877CC38}" type="slidenum">
              <a:rPr lang="en-US" sz="1732" smtClean="0">
                <a:solidFill>
                  <a:prstClr val="white">
                    <a:lumMod val="65000"/>
                  </a:prstClr>
                </a:solidFill>
              </a:rPr>
              <a:pPr algn="ctr"/>
              <a:t>‹#›</a:t>
            </a:fld>
            <a:endParaRPr lang="en-US" sz="1732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CD79BBB-67A9-41D8-843B-0732C38C57BC}"/>
              </a:ext>
            </a:extLst>
          </p:cNvPr>
          <p:cNvSpPr txBox="1">
            <a:spLocks/>
          </p:cNvSpPr>
          <p:nvPr userDrawn="1"/>
        </p:nvSpPr>
        <p:spPr>
          <a:xfrm flipH="1">
            <a:off x="70993" y="6577740"/>
            <a:ext cx="4359953" cy="161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98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4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9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46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960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453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94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83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77662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2" userDrawn="1">
          <p15:clr>
            <a:srgbClr val="FBAE40"/>
          </p15:clr>
        </p15:guide>
        <p15:guide id="2" pos="487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6" y="1122375"/>
            <a:ext cx="7429500" cy="2387600"/>
          </a:xfrm>
        </p:spPr>
        <p:txBody>
          <a:bodyPr anchor="b"/>
          <a:lstStyle>
            <a:lvl1pPr algn="ctr">
              <a:defRPr sz="6496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6" y="3602054"/>
            <a:ext cx="7429500" cy="1655763"/>
          </a:xfrm>
        </p:spPr>
        <p:txBody>
          <a:bodyPr/>
          <a:lstStyle>
            <a:lvl1pPr marL="0" indent="0" algn="ctr">
              <a:buNone/>
              <a:defRPr sz="2598"/>
            </a:lvl1pPr>
            <a:lvl2pPr marL="494900" indent="0" algn="ctr">
              <a:buNone/>
              <a:defRPr sz="2165"/>
            </a:lvl2pPr>
            <a:lvl3pPr marL="989802" indent="0" algn="ctr">
              <a:buNone/>
              <a:defRPr sz="1948"/>
            </a:lvl3pPr>
            <a:lvl4pPr marL="1484703" indent="0" algn="ctr">
              <a:buNone/>
              <a:defRPr sz="1732"/>
            </a:lvl4pPr>
            <a:lvl5pPr marL="1979602" indent="0" algn="ctr">
              <a:buNone/>
              <a:defRPr sz="1732"/>
            </a:lvl5pPr>
            <a:lvl6pPr marL="2474507" indent="0" algn="ctr">
              <a:buNone/>
              <a:defRPr sz="1732"/>
            </a:lvl6pPr>
            <a:lvl7pPr marL="2969403" indent="0" algn="ctr">
              <a:buNone/>
              <a:defRPr sz="1732"/>
            </a:lvl7pPr>
            <a:lvl8pPr marL="3464300" indent="0" algn="ctr">
              <a:buNone/>
              <a:defRPr sz="1732"/>
            </a:lvl8pPr>
            <a:lvl9pPr marL="3959199" indent="0" algn="ctr">
              <a:buNone/>
              <a:defRPr sz="1732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E79050-B314-43CD-AEC0-3BC3BF727A9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6/03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D50B06-CC93-46B8-A315-AD8524D32BA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873D2A-B427-46E8-86A7-E71E3969DDB2}"/>
              </a:ext>
            </a:extLst>
          </p:cNvPr>
          <p:cNvSpPr txBox="1">
            <a:spLocks/>
          </p:cNvSpPr>
          <p:nvPr userDrawn="1"/>
        </p:nvSpPr>
        <p:spPr>
          <a:xfrm>
            <a:off x="9430869" y="6513719"/>
            <a:ext cx="408900" cy="3389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4F9AC08D-23A9-440E-BCB9-AA1E9877CC38}" type="slidenum">
              <a:rPr lang="en-US" sz="1732" smtClean="0">
                <a:solidFill>
                  <a:prstClr val="white">
                    <a:lumMod val="65000"/>
                  </a:prstClr>
                </a:solidFill>
              </a:rPr>
              <a:pPr algn="ctr"/>
              <a:t>‹#›</a:t>
            </a:fld>
            <a:endParaRPr lang="en-US" sz="1732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8" name="フッター プレースホルダ 4">
            <a:extLst>
              <a:ext uri="{FF2B5EF4-FFF2-40B4-BE49-F238E27FC236}">
                <a16:creationId xmlns:a16="http://schemas.microsoft.com/office/drawing/2014/main" id="{C77DF95A-7352-448A-8455-F58906127ECB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-190174" y="6627423"/>
            <a:ext cx="1791998" cy="19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6121" tIns="38062" rIns="76121" bIns="38062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SzPct val="85000"/>
              <a:buFont typeface="Wingdings" pitchFamily="2" charset="2"/>
              <a:defRPr sz="10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SzPct val="85000"/>
              <a:buFont typeface="Wingdings" pitchFamily="2" charset="2"/>
              <a:defRPr sz="10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SzPct val="85000"/>
              <a:buFont typeface="Wingdings" pitchFamily="2" charset="2"/>
              <a:defRPr sz="10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SzPct val="85000"/>
              <a:buFont typeface="Wingdings" pitchFamily="2" charset="2"/>
              <a:defRPr sz="10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algn="r" eaLnBrk="1" hangingPunct="1">
              <a:buFont typeface="Wingdings" pitchFamily="2" charset="2"/>
              <a:buNone/>
              <a:defRPr/>
            </a:pPr>
            <a:r>
              <a:rPr lang="en-US" altLang="ja-JP" sz="751" dirty="0">
                <a:solidFill>
                  <a:schemeClr val="bg1"/>
                </a:solidFill>
                <a:latin typeface="Tahoma" pitchFamily="34" charset="0"/>
                <a:ea typeface="MS UI Gothic" pitchFamily="50" charset="-128"/>
                <a:cs typeface="+mn-cs"/>
              </a:rPr>
              <a:t>©2018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40974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heme" Target="../theme/theme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vmlDrawing" Target="../drawings/vmlDrawing3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heme" Target="../theme/theme5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7" Type="http://schemas.openxmlformats.org/officeDocument/2006/relationships/image" Target="../media/image7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3.bin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7.e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3.bin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1.vml"/><Relationship Id="rId7" Type="http://schemas.openxmlformats.org/officeDocument/2006/relationships/image" Target="../media/image7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3.bin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190" y="1182096"/>
            <a:ext cx="8889622" cy="5254783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190" y="12"/>
            <a:ext cx="8889622" cy="1095121"/>
          </a:xfrm>
          <a:prstGeom prst="rect">
            <a:avLst/>
          </a:prstGeom>
        </p:spPr>
        <p:txBody>
          <a:bodyPr vert="horz" lIns="0" tIns="60949" rIns="0" bIns="0" rtlCol="0" anchor="b" anchorCtr="0">
            <a:noAutofit/>
          </a:bodyPr>
          <a:lstStyle/>
          <a:p>
            <a:pPr lvl="0"/>
            <a:r>
              <a:rPr lang="ja-JP" altLang="en-US" dirty="0"/>
              <a:t>マスター タイトルの書式設定</a:t>
            </a:r>
            <a:endParaRPr lang="en-AU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 flipH="1">
            <a:off x="9152936" y="6604630"/>
            <a:ext cx="550708" cy="161888"/>
          </a:xfrm>
          <a:prstGeom prst="rect">
            <a:avLst/>
          </a:prstGeom>
        </p:spPr>
        <p:txBody>
          <a:bodyPr/>
          <a:lstStyle>
            <a:lvl1pPr algn="r">
              <a:defRPr sz="1083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90CBDC3A-D49F-4631-A8C7-55D59B33E5FA}" type="slidenum">
              <a:rPr lang="en-US" kern="0" smtClean="0">
                <a:solidFill>
                  <a:srgbClr val="66666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666666"/>
              </a:solidFill>
            </a:endParaRPr>
          </a:p>
        </p:txBody>
      </p:sp>
      <p:cxnSp>
        <p:nvCxnSpPr>
          <p:cNvPr id="6" name="Straight Connector 7"/>
          <p:cNvCxnSpPr/>
          <p:nvPr userDrawn="1"/>
        </p:nvCxnSpPr>
        <p:spPr>
          <a:xfrm>
            <a:off x="508194" y="1131308"/>
            <a:ext cx="9397812" cy="0"/>
          </a:xfrm>
          <a:prstGeom prst="line">
            <a:avLst/>
          </a:prstGeom>
          <a:ln w="12700">
            <a:solidFill>
              <a:srgbClr val="00A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C76A75B-AC7A-484D-98B2-99AA32861D09}"/>
              </a:ext>
            </a:extLst>
          </p:cNvPr>
          <p:cNvSpPr txBox="1">
            <a:spLocks/>
          </p:cNvSpPr>
          <p:nvPr userDrawn="1"/>
        </p:nvSpPr>
        <p:spPr>
          <a:xfrm flipH="1">
            <a:off x="70993" y="6577740"/>
            <a:ext cx="4359953" cy="161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98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4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9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46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960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453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94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83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999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29" r:id="rId2"/>
    <p:sldLayoutId id="2147483846" r:id="rId3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kumimoji="1" lang="en-AU" sz="2491" kern="1200" spc="0" baseline="0" dirty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algn="l" rtl="0" eaLnBrk="1" fontAlgn="base" hangingPunct="1">
        <a:lnSpc>
          <a:spcPts val="3755"/>
        </a:lnSpc>
        <a:spcBef>
          <a:spcPct val="0"/>
        </a:spcBef>
        <a:spcAft>
          <a:spcPct val="0"/>
        </a:spcAft>
        <a:buFont typeface="Arial" charset="0"/>
        <a:defRPr kumimoji="1" sz="346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755"/>
        </a:lnSpc>
        <a:spcBef>
          <a:spcPct val="0"/>
        </a:spcBef>
        <a:spcAft>
          <a:spcPct val="0"/>
        </a:spcAft>
        <a:buFont typeface="Arial" charset="0"/>
        <a:defRPr kumimoji="1" sz="346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755"/>
        </a:lnSpc>
        <a:spcBef>
          <a:spcPct val="0"/>
        </a:spcBef>
        <a:spcAft>
          <a:spcPct val="0"/>
        </a:spcAft>
        <a:buFont typeface="Arial" charset="0"/>
        <a:defRPr kumimoji="1" sz="346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755"/>
        </a:lnSpc>
        <a:spcBef>
          <a:spcPct val="0"/>
        </a:spcBef>
        <a:spcAft>
          <a:spcPct val="0"/>
        </a:spcAft>
        <a:buFont typeface="Arial" charset="0"/>
        <a:defRPr kumimoji="1" sz="346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60131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kumimoji="1" sz="379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320263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kumimoji="1" sz="379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980392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kumimoji="1" sz="379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640523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kumimoji="1" sz="379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97731" indent="-197731" algn="l" rtl="0" eaLnBrk="1" fontAlgn="base" hangingPunct="1">
        <a:spcBef>
          <a:spcPts val="866"/>
        </a:spcBef>
        <a:spcAft>
          <a:spcPct val="0"/>
        </a:spcAft>
        <a:buFont typeface="Arial" pitchFamily="34" charset="0"/>
        <a:buChar char="•"/>
        <a:defRPr kumimoji="1" sz="1732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486588" indent="-288858" algn="l" rtl="0" eaLnBrk="1" fontAlgn="base" hangingPunct="1">
        <a:spcBef>
          <a:spcPts val="866"/>
        </a:spcBef>
        <a:spcAft>
          <a:spcPct val="0"/>
        </a:spcAft>
        <a:buFont typeface="Arial" pitchFamily="34" charset="0"/>
        <a:buChar char="–"/>
        <a:defRPr kumimoji="1" sz="1732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677440" indent="-190852" algn="l" rtl="0" eaLnBrk="1" fontAlgn="base" hangingPunct="1">
        <a:spcBef>
          <a:spcPts val="866"/>
        </a:spcBef>
        <a:spcAft>
          <a:spcPct val="0"/>
        </a:spcAft>
        <a:buFont typeface="Arial" pitchFamily="34" charset="0"/>
        <a:buChar char="•"/>
        <a:tabLst/>
        <a:defRPr kumimoji="1" sz="1732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973176" indent="-295735" algn="l" rtl="0" eaLnBrk="1" fontAlgn="base" hangingPunct="1">
        <a:spcBef>
          <a:spcPts val="866"/>
        </a:spcBef>
        <a:spcAft>
          <a:spcPct val="0"/>
        </a:spcAft>
        <a:buFont typeface="Arial" pitchFamily="34" charset="0"/>
        <a:buChar char="–"/>
        <a:defRPr kumimoji="1" sz="1732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1164028" indent="-190852" algn="l" rtl="0" eaLnBrk="1" fontAlgn="base" hangingPunct="1">
        <a:spcBef>
          <a:spcPts val="866"/>
        </a:spcBef>
        <a:spcAft>
          <a:spcPct val="0"/>
        </a:spcAft>
        <a:buFont typeface="Arial" pitchFamily="34" charset="0"/>
        <a:buChar char="•"/>
        <a:defRPr kumimoji="1" sz="1732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3630720" indent="-330066" algn="l" defTabSz="1320263" rtl="0" eaLnBrk="1" latinLnBrk="0" hangingPunct="1">
        <a:spcBef>
          <a:spcPct val="20000"/>
        </a:spcBef>
        <a:buFont typeface="Arial" pitchFamily="34" charset="0"/>
        <a:buChar char="•"/>
        <a:defRPr kumimoji="1" sz="2924" kern="1200">
          <a:solidFill>
            <a:schemeClr val="tx1"/>
          </a:solidFill>
          <a:latin typeface="+mn-lt"/>
          <a:ea typeface="+mn-ea"/>
          <a:cs typeface="+mn-cs"/>
        </a:defRPr>
      </a:lvl6pPr>
      <a:lvl7pPr marL="4290851" indent="-330066" algn="l" defTabSz="1320263" rtl="0" eaLnBrk="1" latinLnBrk="0" hangingPunct="1">
        <a:spcBef>
          <a:spcPct val="20000"/>
        </a:spcBef>
        <a:buFont typeface="Arial" pitchFamily="34" charset="0"/>
        <a:buChar char="•"/>
        <a:defRPr kumimoji="1" sz="2924" kern="1200">
          <a:solidFill>
            <a:schemeClr val="tx1"/>
          </a:solidFill>
          <a:latin typeface="+mn-lt"/>
          <a:ea typeface="+mn-ea"/>
          <a:cs typeface="+mn-cs"/>
        </a:defRPr>
      </a:lvl7pPr>
      <a:lvl8pPr marL="4950981" indent="-330066" algn="l" defTabSz="1320263" rtl="0" eaLnBrk="1" latinLnBrk="0" hangingPunct="1">
        <a:spcBef>
          <a:spcPct val="20000"/>
        </a:spcBef>
        <a:buFont typeface="Arial" pitchFamily="34" charset="0"/>
        <a:buChar char="•"/>
        <a:defRPr kumimoji="1" sz="2924" kern="1200">
          <a:solidFill>
            <a:schemeClr val="tx1"/>
          </a:solidFill>
          <a:latin typeface="+mn-lt"/>
          <a:ea typeface="+mn-ea"/>
          <a:cs typeface="+mn-cs"/>
        </a:defRPr>
      </a:lvl8pPr>
      <a:lvl9pPr marL="5611112" indent="-330066" algn="l" defTabSz="1320263" rtl="0" eaLnBrk="1" latinLnBrk="0" hangingPunct="1">
        <a:spcBef>
          <a:spcPct val="20000"/>
        </a:spcBef>
        <a:buFont typeface="Arial" pitchFamily="34" charset="0"/>
        <a:buChar char="•"/>
        <a:defRPr kumimoji="1" sz="29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20263" rtl="0" eaLnBrk="1" latinLnBrk="0" hangingPunct="1">
        <a:defRPr kumimoji="1" sz="2599" kern="1200">
          <a:solidFill>
            <a:schemeClr val="tx1"/>
          </a:solidFill>
          <a:latin typeface="+mn-lt"/>
          <a:ea typeface="+mn-ea"/>
          <a:cs typeface="+mn-cs"/>
        </a:defRPr>
      </a:lvl1pPr>
      <a:lvl2pPr marL="660131" algn="l" defTabSz="1320263" rtl="0" eaLnBrk="1" latinLnBrk="0" hangingPunct="1">
        <a:defRPr kumimoji="1" sz="2599" kern="1200">
          <a:solidFill>
            <a:schemeClr val="tx1"/>
          </a:solidFill>
          <a:latin typeface="+mn-lt"/>
          <a:ea typeface="+mn-ea"/>
          <a:cs typeface="+mn-cs"/>
        </a:defRPr>
      </a:lvl2pPr>
      <a:lvl3pPr marL="1320263" algn="l" defTabSz="1320263" rtl="0" eaLnBrk="1" latinLnBrk="0" hangingPunct="1">
        <a:defRPr kumimoji="1" sz="2599" kern="1200">
          <a:solidFill>
            <a:schemeClr val="tx1"/>
          </a:solidFill>
          <a:latin typeface="+mn-lt"/>
          <a:ea typeface="+mn-ea"/>
          <a:cs typeface="+mn-cs"/>
        </a:defRPr>
      </a:lvl3pPr>
      <a:lvl4pPr marL="1980392" algn="l" defTabSz="1320263" rtl="0" eaLnBrk="1" latinLnBrk="0" hangingPunct="1">
        <a:defRPr kumimoji="1" sz="2599" kern="1200">
          <a:solidFill>
            <a:schemeClr val="tx1"/>
          </a:solidFill>
          <a:latin typeface="+mn-lt"/>
          <a:ea typeface="+mn-ea"/>
          <a:cs typeface="+mn-cs"/>
        </a:defRPr>
      </a:lvl4pPr>
      <a:lvl5pPr marL="2640523" algn="l" defTabSz="1320263" rtl="0" eaLnBrk="1" latinLnBrk="0" hangingPunct="1">
        <a:defRPr kumimoji="1" sz="2599" kern="1200">
          <a:solidFill>
            <a:schemeClr val="tx1"/>
          </a:solidFill>
          <a:latin typeface="+mn-lt"/>
          <a:ea typeface="+mn-ea"/>
          <a:cs typeface="+mn-cs"/>
        </a:defRPr>
      </a:lvl5pPr>
      <a:lvl6pPr marL="3300654" algn="l" defTabSz="1320263" rtl="0" eaLnBrk="1" latinLnBrk="0" hangingPunct="1">
        <a:defRPr kumimoji="1" sz="25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786" algn="l" defTabSz="1320263" rtl="0" eaLnBrk="1" latinLnBrk="0" hangingPunct="1">
        <a:defRPr kumimoji="1" sz="2599" kern="1200">
          <a:solidFill>
            <a:schemeClr val="tx1"/>
          </a:solidFill>
          <a:latin typeface="+mn-lt"/>
          <a:ea typeface="+mn-ea"/>
          <a:cs typeface="+mn-cs"/>
        </a:defRPr>
      </a:lvl7pPr>
      <a:lvl8pPr marL="4620915" algn="l" defTabSz="1320263" rtl="0" eaLnBrk="1" latinLnBrk="0" hangingPunct="1">
        <a:defRPr kumimoji="1" sz="2599" kern="1200">
          <a:solidFill>
            <a:schemeClr val="tx1"/>
          </a:solidFill>
          <a:latin typeface="+mn-lt"/>
          <a:ea typeface="+mn-ea"/>
          <a:cs typeface="+mn-cs"/>
        </a:defRPr>
      </a:lvl8pPr>
      <a:lvl9pPr marL="5281049" algn="l" defTabSz="1320263" rtl="0" eaLnBrk="1" latinLnBrk="0" hangingPunct="1">
        <a:defRPr kumimoji="1" sz="2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564" y="381009"/>
            <a:ext cx="9286875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564" y="1828806"/>
            <a:ext cx="9286875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13734D19-DADB-4FBF-98C8-74792A8B2B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30869" y="6513719"/>
            <a:ext cx="408900" cy="338977"/>
          </a:xfrm>
          <a:prstGeom prst="rect">
            <a:avLst/>
          </a:prstGeom>
        </p:spPr>
        <p:txBody>
          <a:bodyPr anchor="ctr"/>
          <a:lstStyle/>
          <a:p>
            <a:pPr algn="ctr"/>
            <a:fld id="{4F9AC08D-23A9-440E-BCB9-AA1E9877CC38}" type="slidenum">
              <a:rPr lang="en-US" sz="1732" smtClean="0">
                <a:solidFill>
                  <a:prstClr val="white">
                    <a:lumMod val="65000"/>
                  </a:prstClr>
                </a:solidFill>
              </a:rPr>
              <a:pPr algn="ctr"/>
              <a:t>‹#›</a:t>
            </a:fld>
            <a:endParaRPr lang="en-US" sz="1732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7ACB66C-EC9F-4B94-BB9E-AF894E14FAF9}"/>
              </a:ext>
            </a:extLst>
          </p:cNvPr>
          <p:cNvSpPr txBox="1">
            <a:spLocks/>
          </p:cNvSpPr>
          <p:nvPr userDrawn="1"/>
        </p:nvSpPr>
        <p:spPr>
          <a:xfrm flipH="1">
            <a:off x="70993" y="6577740"/>
            <a:ext cx="4359953" cy="161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98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4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97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46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960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453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947" algn="l" defTabSz="121898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83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16012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5" r:id="rId6"/>
  </p:sldLayoutIdLst>
  <p:hf hdr="0"/>
  <p:txStyles>
    <p:titleStyle>
      <a:lvl1pPr marL="0" indent="0" algn="l" defTabSz="989802" rtl="0" eaLnBrk="1" latinLnBrk="0" hangingPunct="1">
        <a:lnSpc>
          <a:spcPct val="70000"/>
        </a:lnSpc>
        <a:spcBef>
          <a:spcPct val="0"/>
        </a:spcBef>
        <a:buNone/>
        <a:defRPr sz="433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89802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948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89802" rtl="0" eaLnBrk="1" latinLnBrk="0" hangingPunct="1">
        <a:lnSpc>
          <a:spcPct val="90000"/>
        </a:lnSpc>
        <a:spcBef>
          <a:spcPts val="0"/>
        </a:spcBef>
        <a:spcAft>
          <a:spcPts val="1300"/>
        </a:spcAft>
        <a:buFont typeface="Arial" panose="020B0604020202020204" pitchFamily="34" charset="0"/>
        <a:buNone/>
        <a:defRPr sz="303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89802" rtl="0" eaLnBrk="1" latinLnBrk="0" hangingPunct="1">
        <a:lnSpc>
          <a:spcPct val="110000"/>
        </a:lnSpc>
        <a:spcBef>
          <a:spcPts val="0"/>
        </a:spcBef>
        <a:spcAft>
          <a:spcPts val="975"/>
        </a:spcAft>
        <a:buFont typeface="Arial" panose="020B0604020202020204" pitchFamily="34" charset="0"/>
        <a:buNone/>
        <a:defRPr sz="1948" kern="1200">
          <a:solidFill>
            <a:schemeClr val="tx1"/>
          </a:solidFill>
          <a:latin typeface="+mn-lt"/>
          <a:ea typeface="+mn-ea"/>
          <a:cs typeface="+mn-cs"/>
        </a:defRPr>
      </a:lvl3pPr>
      <a:lvl4pPr marL="187308" indent="-183870" algn="l" defTabSz="989802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948" kern="1200">
          <a:solidFill>
            <a:schemeClr val="tx1"/>
          </a:solidFill>
          <a:latin typeface="+mn-lt"/>
          <a:ea typeface="+mn-ea"/>
          <a:cs typeface="+mn-cs"/>
        </a:defRPr>
      </a:lvl4pPr>
      <a:lvl5pPr marL="374616" indent="-192465" algn="l" defTabSz="989802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515" kern="1200">
          <a:solidFill>
            <a:schemeClr val="tx1"/>
          </a:solidFill>
          <a:latin typeface="+mn-lt"/>
          <a:ea typeface="+mn-ea"/>
          <a:cs typeface="+mn-cs"/>
        </a:defRPr>
      </a:lvl5pPr>
      <a:lvl6pPr marL="555050" indent="-187308" algn="l" defTabSz="989802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515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89802" rtl="0" eaLnBrk="1" latinLnBrk="0" hangingPunct="1">
        <a:lnSpc>
          <a:spcPct val="90000"/>
        </a:lnSpc>
        <a:spcBef>
          <a:spcPts val="866"/>
        </a:spcBef>
        <a:buFont typeface="Arial" panose="020B0604020202020204" pitchFamily="34" charset="0"/>
        <a:buNone/>
        <a:defRPr sz="13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89802" rtl="0" eaLnBrk="1" latinLnBrk="0" hangingPunct="1">
        <a:lnSpc>
          <a:spcPct val="100000"/>
        </a:lnSpc>
        <a:spcBef>
          <a:spcPts val="0"/>
        </a:spcBef>
        <a:spcAft>
          <a:spcPts val="866"/>
        </a:spcAft>
        <a:buFont typeface="Arial" panose="020B0604020202020204" pitchFamily="34" charset="0"/>
        <a:buNone/>
        <a:defRPr sz="1948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89802" rtl="0" eaLnBrk="1" latinLnBrk="0" hangingPunct="1">
        <a:lnSpc>
          <a:spcPct val="110000"/>
        </a:lnSpc>
        <a:spcBef>
          <a:spcPts val="0"/>
        </a:spcBef>
        <a:spcAft>
          <a:spcPts val="650"/>
        </a:spcAft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9802" rtl="0" eaLnBrk="1" latinLnBrk="0" hangingPunct="1">
        <a:defRPr sz="1948" kern="1200">
          <a:solidFill>
            <a:schemeClr val="tx1"/>
          </a:solidFill>
          <a:latin typeface="+mn-lt"/>
          <a:ea typeface="+mn-ea"/>
          <a:cs typeface="+mn-cs"/>
        </a:defRPr>
      </a:lvl1pPr>
      <a:lvl2pPr marL="494900" algn="l" defTabSz="989802" rtl="0" eaLnBrk="1" latinLnBrk="0" hangingPunct="1">
        <a:defRPr sz="1948" kern="1200">
          <a:solidFill>
            <a:schemeClr val="tx1"/>
          </a:solidFill>
          <a:latin typeface="+mn-lt"/>
          <a:ea typeface="+mn-ea"/>
          <a:cs typeface="+mn-cs"/>
        </a:defRPr>
      </a:lvl2pPr>
      <a:lvl3pPr marL="989802" algn="l" defTabSz="989802" rtl="0" eaLnBrk="1" latinLnBrk="0" hangingPunct="1">
        <a:defRPr sz="1948" kern="1200">
          <a:solidFill>
            <a:schemeClr val="tx1"/>
          </a:solidFill>
          <a:latin typeface="+mn-lt"/>
          <a:ea typeface="+mn-ea"/>
          <a:cs typeface="+mn-cs"/>
        </a:defRPr>
      </a:lvl3pPr>
      <a:lvl4pPr marL="1484703" algn="l" defTabSz="989802" rtl="0" eaLnBrk="1" latinLnBrk="0" hangingPunct="1">
        <a:defRPr sz="1948" kern="1200">
          <a:solidFill>
            <a:schemeClr val="tx1"/>
          </a:solidFill>
          <a:latin typeface="+mn-lt"/>
          <a:ea typeface="+mn-ea"/>
          <a:cs typeface="+mn-cs"/>
        </a:defRPr>
      </a:lvl4pPr>
      <a:lvl5pPr marL="1979602" algn="l" defTabSz="989802" rtl="0" eaLnBrk="1" latinLnBrk="0" hangingPunct="1">
        <a:defRPr sz="1948" kern="1200">
          <a:solidFill>
            <a:schemeClr val="tx1"/>
          </a:solidFill>
          <a:latin typeface="+mn-lt"/>
          <a:ea typeface="+mn-ea"/>
          <a:cs typeface="+mn-cs"/>
        </a:defRPr>
      </a:lvl5pPr>
      <a:lvl6pPr marL="2474507" algn="l" defTabSz="989802" rtl="0" eaLnBrk="1" latinLnBrk="0" hangingPunct="1">
        <a:defRPr sz="1948" kern="1200">
          <a:solidFill>
            <a:schemeClr val="tx1"/>
          </a:solidFill>
          <a:latin typeface="+mn-lt"/>
          <a:ea typeface="+mn-ea"/>
          <a:cs typeface="+mn-cs"/>
        </a:defRPr>
      </a:lvl6pPr>
      <a:lvl7pPr marL="2969403" algn="l" defTabSz="989802" rtl="0" eaLnBrk="1" latinLnBrk="0" hangingPunct="1">
        <a:defRPr sz="1948" kern="1200">
          <a:solidFill>
            <a:schemeClr val="tx1"/>
          </a:solidFill>
          <a:latin typeface="+mn-lt"/>
          <a:ea typeface="+mn-ea"/>
          <a:cs typeface="+mn-cs"/>
        </a:defRPr>
      </a:lvl7pPr>
      <a:lvl8pPr marL="3464300" algn="l" defTabSz="989802" rtl="0" eaLnBrk="1" latinLnBrk="0" hangingPunct="1">
        <a:defRPr sz="1948" kern="1200">
          <a:solidFill>
            <a:schemeClr val="tx1"/>
          </a:solidFill>
          <a:latin typeface="+mn-lt"/>
          <a:ea typeface="+mn-ea"/>
          <a:cs typeface="+mn-cs"/>
        </a:defRPr>
      </a:lvl8pPr>
      <a:lvl9pPr marL="3959199" algn="l" defTabSz="989802" rtl="0" eaLnBrk="1" latinLnBrk="0" hangingPunct="1">
        <a:defRPr sz="19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 userDrawn="1">
          <p15:clr>
            <a:srgbClr val="F26B43"/>
          </p15:clr>
        </p15:guide>
        <p15:guide id="2" pos="4583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orient="horz" pos="240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7" pos="6242" userDrawn="1">
          <p15:clr>
            <a:srgbClr val="F26B43"/>
          </p15:clr>
        </p15:guide>
        <p15:guide id="9" pos="195" userDrawn="1">
          <p15:clr>
            <a:srgbClr val="F26B43"/>
          </p15:clr>
        </p15:guide>
        <p15:guide id="10" orient="horz" pos="4223" userDrawn="1">
          <p15:clr>
            <a:srgbClr val="F26B43"/>
          </p15:clr>
        </p15:guide>
        <p15:guide id="11" pos="3122" userDrawn="1">
          <p15:clr>
            <a:srgbClr val="F26B43"/>
          </p15:clr>
        </p15:guide>
        <p15:guide id="13" pos="1659" userDrawn="1">
          <p15:clr>
            <a:srgbClr val="F26B43"/>
          </p15:clr>
        </p15:guide>
        <p15:guide id="14" pos="6047" userDrawn="1">
          <p15:clr>
            <a:srgbClr val="F26B43"/>
          </p15:clr>
        </p15:guide>
        <p15:guide id="15" orient="horz" pos="2231" userDrawn="1">
          <p15:clr>
            <a:srgbClr val="F26B43"/>
          </p15:clr>
        </p15:guide>
        <p15:guide id="16" orient="horz" pos="323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2894343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" name="think-cell スライド" r:id="rId7" imgW="470" imgH="469" progId="TCLayout.ActiveDocument.1">
                  <p:embed/>
                </p:oleObj>
              </mc:Choice>
              <mc:Fallback>
                <p:oleObj name="think-cell スライド" r:id="rId7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6491AD6F-74F4-4A85-8F0F-8C30A5A0BA9C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3" name="タイトル プレースホルダー 2">
            <a:extLst>
              <a:ext uri="{FF2B5EF4-FFF2-40B4-BE49-F238E27FC236}">
                <a16:creationId xmlns:a16="http://schemas.microsoft.com/office/drawing/2014/main" id="{CDE2699A-871E-4F62-8C18-D1F378566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04" y="476720"/>
            <a:ext cx="8928000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46A2FBE-8717-4DDD-97F4-55040C1A4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504" y="944949"/>
            <a:ext cx="8928000" cy="14542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469575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ja-JP" altLang="en-US" sz="2600" b="1" kern="1200" dirty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5pPr>
      <a:lvl6pPr marL="495273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90546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485818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981089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None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27063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Wingdings" panose="05000000000000000000" pitchFamily="2" charset="2"/>
        <a:buChar char="p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985838" indent="-26670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Char char="•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346200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Meiryo UI" panose="020B0604030504040204" pitchFamily="50" charset="-128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1704975" indent="-268288" algn="l" rtl="0" eaLnBrk="1" fontAlgn="base" hangingPunct="1">
        <a:spcBef>
          <a:spcPts val="600"/>
        </a:spcBef>
        <a:spcAft>
          <a:spcPts val="325"/>
        </a:spcAft>
        <a:buFont typeface="Arial" panose="020B0604020202020204" pitchFamily="34" charset="0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723999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0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46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8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5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18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308">
          <p15:clr>
            <a:srgbClr val="F26B43"/>
          </p15:clr>
        </p15:guide>
        <p15:guide id="3" pos="5932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5477376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0" name="think-cell スライド" r:id="rId7" imgW="470" imgH="469" progId="TCLayout.ActiveDocument.1">
                  <p:embed/>
                </p:oleObj>
              </mc:Choice>
              <mc:Fallback>
                <p:oleObj name="think-cell スライド" r:id="rId7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6491AD6F-74F4-4A85-8F0F-8C30A5A0BA9C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3" name="タイトル プレースホルダー 2">
            <a:extLst>
              <a:ext uri="{FF2B5EF4-FFF2-40B4-BE49-F238E27FC236}">
                <a16:creationId xmlns:a16="http://schemas.microsoft.com/office/drawing/2014/main" id="{CDE2699A-871E-4F62-8C18-D1F378566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04" y="476720"/>
            <a:ext cx="8928000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46A2FBE-8717-4DDD-97F4-55040C1A4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504" y="944949"/>
            <a:ext cx="8928000" cy="14542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458232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ja-JP" altLang="en-US" sz="2600" b="1" kern="1200" dirty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5pPr>
      <a:lvl6pPr marL="495273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90546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485818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981089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None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27063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Wingdings" panose="05000000000000000000" pitchFamily="2" charset="2"/>
        <a:buChar char="p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985838" indent="-26670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Char char="•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346200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Meiryo UI" panose="020B0604030504040204" pitchFamily="50" charset="-128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1704975" indent="-268288" algn="l" rtl="0" eaLnBrk="1" fontAlgn="base" hangingPunct="1">
        <a:spcBef>
          <a:spcPts val="600"/>
        </a:spcBef>
        <a:spcAft>
          <a:spcPts val="325"/>
        </a:spcAft>
        <a:buFont typeface="Arial" panose="020B0604020202020204" pitchFamily="34" charset="0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723999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0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46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8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5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18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308">
          <p15:clr>
            <a:srgbClr val="F26B43"/>
          </p15:clr>
        </p15:guide>
        <p15:guide id="3" pos="5932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7315034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0" name="think-cell スライド" r:id="rId7" imgW="470" imgH="469" progId="TCLayout.ActiveDocument.1">
                  <p:embed/>
                </p:oleObj>
              </mc:Choice>
              <mc:Fallback>
                <p:oleObj name="think-cell スライド" r:id="rId7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6491AD6F-74F4-4A85-8F0F-8C30A5A0BA9C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3" name="タイトル プレースホルダー 2">
            <a:extLst>
              <a:ext uri="{FF2B5EF4-FFF2-40B4-BE49-F238E27FC236}">
                <a16:creationId xmlns:a16="http://schemas.microsoft.com/office/drawing/2014/main" id="{CDE2699A-871E-4F62-8C18-D1F378566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04" y="476720"/>
            <a:ext cx="8928000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46A2FBE-8717-4DDD-97F4-55040C1A4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504" y="944949"/>
            <a:ext cx="8928000" cy="14542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45208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ja-JP" altLang="en-US" sz="2600" b="1" kern="1200" dirty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5pPr>
      <a:lvl6pPr marL="495273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90546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485818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981089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None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27063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Wingdings" panose="05000000000000000000" pitchFamily="2" charset="2"/>
        <a:buChar char="p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985838" indent="-26670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Char char="•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346200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Meiryo UI" panose="020B0604030504040204" pitchFamily="50" charset="-128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1704975" indent="-268288" algn="l" rtl="0" eaLnBrk="1" fontAlgn="base" hangingPunct="1">
        <a:spcBef>
          <a:spcPts val="600"/>
        </a:spcBef>
        <a:spcAft>
          <a:spcPts val="325"/>
        </a:spcAft>
        <a:buFont typeface="Arial" panose="020B0604020202020204" pitchFamily="34" charset="0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723999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0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46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8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5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18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308">
          <p15:clr>
            <a:srgbClr val="F26B43"/>
          </p15:clr>
        </p15:guide>
        <p15:guide id="3" pos="5932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2145903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スライド" r:id="rId6" imgW="470" imgH="469" progId="TCLayout.ActiveDocument.1">
                  <p:embed/>
                </p:oleObj>
              </mc:Choice>
              <mc:Fallback>
                <p:oleObj name="think-cell スライド" r:id="rId6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6491AD6F-74F4-4A85-8F0F-8C30A5A0BA9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3" name="タイトル プレースホルダー 2">
            <a:extLst>
              <a:ext uri="{FF2B5EF4-FFF2-40B4-BE49-F238E27FC236}">
                <a16:creationId xmlns:a16="http://schemas.microsoft.com/office/drawing/2014/main" id="{CDE2699A-871E-4F62-8C18-D1F378566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04" y="476720"/>
            <a:ext cx="8928000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46A2FBE-8717-4DDD-97F4-55040C1A4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504" y="944949"/>
            <a:ext cx="8928000" cy="14542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742121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ja-JP" altLang="en-US" sz="2600" b="1" kern="1200" dirty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5pPr>
      <a:lvl6pPr marL="495273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90546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485818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981089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None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27063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Wingdings" panose="05000000000000000000" pitchFamily="2" charset="2"/>
        <a:buChar char="p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985838" indent="-26670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Char char="•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346200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Meiryo UI" panose="020B0604030504040204" pitchFamily="50" charset="-128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1704975" indent="-268288" algn="l" rtl="0" eaLnBrk="1" fontAlgn="base" hangingPunct="1">
        <a:spcBef>
          <a:spcPts val="600"/>
        </a:spcBef>
        <a:spcAft>
          <a:spcPts val="325"/>
        </a:spcAft>
        <a:buFont typeface="Arial" panose="020B0604020202020204" pitchFamily="34" charset="0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723999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0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46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8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5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18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308">
          <p15:clr>
            <a:srgbClr val="F26B43"/>
          </p15:clr>
        </p15:guide>
        <p15:guide id="3" pos="5932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9947932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スライド" r:id="rId6" imgW="470" imgH="469" progId="TCLayout.ActiveDocument.1">
                  <p:embed/>
                </p:oleObj>
              </mc:Choice>
              <mc:Fallback>
                <p:oleObj name="think-cell スライド" r:id="rId6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6491AD6F-74F4-4A85-8F0F-8C30A5A0BA9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3" name="タイトル プレースホルダー 2">
            <a:extLst>
              <a:ext uri="{FF2B5EF4-FFF2-40B4-BE49-F238E27FC236}">
                <a16:creationId xmlns:a16="http://schemas.microsoft.com/office/drawing/2014/main" id="{CDE2699A-871E-4F62-8C18-D1F378566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04" y="476720"/>
            <a:ext cx="8928000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46A2FBE-8717-4DDD-97F4-55040C1A4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504" y="944949"/>
            <a:ext cx="8928000" cy="14542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502431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ja-JP" altLang="en-US" sz="2600" b="1" kern="1200" dirty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5pPr>
      <a:lvl6pPr marL="495273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90546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485818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981089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None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27063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Wingdings" panose="05000000000000000000" pitchFamily="2" charset="2"/>
        <a:buChar char="p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985838" indent="-26670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Char char="•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346200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Meiryo UI" panose="020B0604030504040204" pitchFamily="50" charset="-128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1704975" indent="-268288" algn="l" rtl="0" eaLnBrk="1" fontAlgn="base" hangingPunct="1">
        <a:spcBef>
          <a:spcPts val="600"/>
        </a:spcBef>
        <a:spcAft>
          <a:spcPts val="325"/>
        </a:spcAft>
        <a:buFont typeface="Arial" panose="020B0604020202020204" pitchFamily="34" charset="0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723999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0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46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8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5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18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308">
          <p15:clr>
            <a:srgbClr val="F26B43"/>
          </p15:clr>
        </p15:guide>
        <p15:guide id="3" pos="5932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9351760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スライド" r:id="rId6" imgW="470" imgH="469" progId="TCLayout.ActiveDocument.1">
                  <p:embed/>
                </p:oleObj>
              </mc:Choice>
              <mc:Fallback>
                <p:oleObj name="think-cell スライド" r:id="rId6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6491AD6F-74F4-4A85-8F0F-8C30A5A0BA9C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600" b="1" i="0" kern="0" baseline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3" name="タイトル プレースホルダー 2">
            <a:extLst>
              <a:ext uri="{FF2B5EF4-FFF2-40B4-BE49-F238E27FC236}">
                <a16:creationId xmlns:a16="http://schemas.microsoft.com/office/drawing/2014/main" id="{CDE2699A-871E-4F62-8C18-D1F378566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04" y="476720"/>
            <a:ext cx="8928000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46A2FBE-8717-4DDD-97F4-55040C1A4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504" y="944949"/>
            <a:ext cx="8928000" cy="14542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R="0" lvl="0" defTabSz="990546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21330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ja-JP" altLang="en-US" sz="2600" b="1" kern="1200" dirty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5pPr>
      <a:lvl6pPr marL="495273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90546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485818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981089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None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627063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Wingdings" panose="05000000000000000000" pitchFamily="2" charset="2"/>
        <a:buChar char="p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985838" indent="-266700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Arial" panose="020B0604020202020204" pitchFamily="34" charset="0"/>
        <a:buChar char="•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346200" indent="-268288" algn="l" rtl="0" eaLnBrk="1" fontAlgn="base" hangingPunct="1">
        <a:lnSpc>
          <a:spcPct val="100000"/>
        </a:lnSpc>
        <a:spcBef>
          <a:spcPts val="600"/>
        </a:spcBef>
        <a:spcAft>
          <a:spcPts val="325"/>
        </a:spcAft>
        <a:buFont typeface="Meiryo UI" panose="020B0604030504040204" pitchFamily="50" charset="-128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1704975" indent="-268288" algn="l" rtl="0" eaLnBrk="1" fontAlgn="base" hangingPunct="1">
        <a:spcBef>
          <a:spcPts val="600"/>
        </a:spcBef>
        <a:spcAft>
          <a:spcPts val="325"/>
        </a:spcAft>
        <a:buFont typeface="Arial" panose="020B0604020202020204" pitchFamily="34" charset="0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2723999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0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46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8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5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18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308">
          <p15:clr>
            <a:srgbClr val="F26B43"/>
          </p15:clr>
        </p15:guide>
        <p15:guide id="3" pos="5932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pnari.com/entry/Alexa-Custom-Skil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g"/><Relationship Id="rId4" Type="http://schemas.openxmlformats.org/officeDocument/2006/relationships/hyperlink" Target="https://www.amazon.co.jp/ref=nav_logo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ay2h.blogspot.com/2013/02/how-to-check-who-else-connected-on-my.html" TargetMode="External"/><Relationship Id="rId3" Type="http://schemas.openxmlformats.org/officeDocument/2006/relationships/image" Target="../media/image11.jpg"/><Relationship Id="rId7" Type="http://schemas.openxmlformats.org/officeDocument/2006/relationships/hyperlink" Target="https://images.app.goo.gl/HioJbfzVTSUcPSvUA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amazon.co.jp/ref=nav_logo" TargetMode="External"/><Relationship Id="rId11" Type="http://schemas.openxmlformats.org/officeDocument/2006/relationships/image" Target="../media/image14.jpeg"/><Relationship Id="rId5" Type="http://schemas.openxmlformats.org/officeDocument/2006/relationships/hyperlink" Target="https://www.apnari.com/entry/Alexa-Custom-Skill" TargetMode="External"/><Relationship Id="rId10" Type="http://schemas.openxmlformats.org/officeDocument/2006/relationships/image" Target="../media/image13.jpeg"/><Relationship Id="rId4" Type="http://schemas.openxmlformats.org/officeDocument/2006/relationships/image" Target="../media/image12.jfif"/><Relationship Id="rId9" Type="http://schemas.openxmlformats.org/officeDocument/2006/relationships/hyperlink" Target="https://creativecommons.org/licenses/by-sa/3.0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建物, 屋外, 市, 大きい が含まれている画像&#10;&#10;自動的に生成された説明">
            <a:extLst>
              <a:ext uri="{FF2B5EF4-FFF2-40B4-BE49-F238E27FC236}">
                <a16:creationId xmlns:a16="http://schemas.microsoft.com/office/drawing/2014/main" id="{5034E0D4-1821-4DE8-85B4-F6A492362D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1" r="11466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1" name="テキスト プレースホルダー 20">
            <a:extLst>
              <a:ext uri="{FF2B5EF4-FFF2-40B4-BE49-F238E27FC236}">
                <a16:creationId xmlns:a16="http://schemas.microsoft.com/office/drawing/2014/main" id="{BC779BB2-75D2-4691-A09D-21EF9D2102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5442" y="5904746"/>
            <a:ext cx="5815710" cy="679430"/>
          </a:xfrm>
        </p:spPr>
        <p:txBody>
          <a:bodyPr/>
          <a:lstStyle/>
          <a:p>
            <a:r>
              <a:rPr lang="en-US" altLang="ja-JP" sz="2000" dirty="0">
                <a:solidFill>
                  <a:schemeClr val="bg1"/>
                </a:solidFill>
              </a:rPr>
              <a:t>2020</a:t>
            </a:r>
            <a:r>
              <a:rPr lang="ja-JP" altLang="en-US" sz="2000" dirty="0">
                <a:solidFill>
                  <a:schemeClr val="bg1"/>
                </a:solidFill>
              </a:rPr>
              <a:t>年</a:t>
            </a:r>
            <a:r>
              <a:rPr lang="en-US" altLang="ja-JP" sz="2000" dirty="0">
                <a:solidFill>
                  <a:schemeClr val="bg1"/>
                </a:solidFill>
              </a:rPr>
              <a:t>03</a:t>
            </a:r>
            <a:r>
              <a:rPr lang="ja-JP" altLang="en-US" sz="2000" dirty="0">
                <a:solidFill>
                  <a:schemeClr val="bg1"/>
                </a:solidFill>
              </a:rPr>
              <a:t>月</a:t>
            </a:r>
            <a:r>
              <a:rPr lang="en-US" altLang="ja-JP" sz="2000" dirty="0">
                <a:solidFill>
                  <a:schemeClr val="bg1"/>
                </a:solidFill>
              </a:rPr>
              <a:t>16</a:t>
            </a:r>
            <a:r>
              <a:rPr lang="ja-JP" altLang="en-US" sz="2000" dirty="0">
                <a:solidFill>
                  <a:schemeClr val="bg1"/>
                </a:solidFill>
              </a:rPr>
              <a:t>日</a:t>
            </a:r>
          </a:p>
          <a:p>
            <a:r>
              <a:rPr lang="en-US" altLang="ja-JP" sz="2000" dirty="0">
                <a:solidFill>
                  <a:schemeClr val="bg1"/>
                </a:solidFill>
              </a:rPr>
              <a:t>COBOL</a:t>
            </a:r>
            <a:r>
              <a:rPr lang="ja-JP" altLang="en-US" sz="2000" dirty="0">
                <a:solidFill>
                  <a:schemeClr val="bg1"/>
                </a:solidFill>
              </a:rPr>
              <a:t>女子チーム</a:t>
            </a:r>
          </a:p>
        </p:txBody>
      </p:sp>
      <p:sp>
        <p:nvSpPr>
          <p:cNvPr id="5" name="MasterTitle">
            <a:extLst>
              <a:ext uri="{FF2B5EF4-FFF2-40B4-BE49-F238E27FC236}">
                <a16:creationId xmlns:a16="http://schemas.microsoft.com/office/drawing/2014/main" id="{796A6EF2-18AC-4508-AF85-7034499BB3A5}"/>
              </a:ext>
            </a:extLst>
          </p:cNvPr>
          <p:cNvSpPr txBox="1">
            <a:spLocks/>
          </p:cNvSpPr>
          <p:nvPr/>
        </p:nvSpPr>
        <p:spPr>
          <a:xfrm>
            <a:off x="558546" y="2060848"/>
            <a:ext cx="7634814" cy="1680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8500" b="1" kern="1200" cap="all" spc="-7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011" fontAlgn="auto">
              <a:spcAft>
                <a:spcPts val="0"/>
              </a:spcAft>
            </a:pPr>
            <a:r>
              <a:rPr lang="en-US" sz="6000" dirty="0">
                <a:solidFill>
                  <a:schemeClr val="bg1"/>
                </a:solidFill>
                <a:latin typeface="Graphik"/>
              </a:rPr>
              <a:t>COBOL </a:t>
            </a:r>
            <a:r>
              <a:rPr lang="en-US" altLang="ja-JP" sz="6000" dirty="0">
                <a:solidFill>
                  <a:schemeClr val="bg1"/>
                </a:solidFill>
                <a:latin typeface="Graphik"/>
              </a:rPr>
              <a:t>Hackathon</a:t>
            </a:r>
            <a:r>
              <a:rPr lang="en-US" sz="6000" dirty="0">
                <a:solidFill>
                  <a:schemeClr val="bg1"/>
                </a:solidFill>
                <a:latin typeface="Graphik"/>
              </a:rPr>
              <a:t> 2020 </a:t>
            </a:r>
          </a:p>
          <a:p>
            <a:pPr defTabSz="914011" fontAlgn="auto">
              <a:spcAft>
                <a:spcPts val="0"/>
              </a:spcAft>
            </a:pPr>
            <a:r>
              <a:rPr lang="en-US" altLang="ja-JP" sz="3600" dirty="0">
                <a:solidFill>
                  <a:schemeClr val="bg1"/>
                </a:solidFill>
                <a:latin typeface="Graphik"/>
              </a:rPr>
              <a:t>~COBOL</a:t>
            </a:r>
            <a:r>
              <a:rPr lang="ja-JP" altLang="en-US" sz="3600" dirty="0">
                <a:solidFill>
                  <a:schemeClr val="bg1"/>
                </a:solidFill>
                <a:latin typeface="Graphik"/>
              </a:rPr>
              <a:t> </a:t>
            </a:r>
            <a:r>
              <a:rPr lang="en-US" altLang="ja-JP" sz="3600" dirty="0">
                <a:solidFill>
                  <a:schemeClr val="bg1"/>
                </a:solidFill>
                <a:latin typeface="Graphik"/>
              </a:rPr>
              <a:t>woman’s Team~</a:t>
            </a:r>
            <a:endParaRPr lang="en-AU" sz="3600" dirty="0">
              <a:solidFill>
                <a:schemeClr val="bg1"/>
              </a:solidFill>
              <a:latin typeface="Graphik"/>
            </a:endParaRPr>
          </a:p>
        </p:txBody>
      </p:sp>
    </p:spTree>
    <p:extLst>
      <p:ext uri="{BB962C8B-B14F-4D97-AF65-F5344CB8AC3E}">
        <p14:creationId xmlns:p14="http://schemas.microsoft.com/office/powerpoint/2010/main" val="20960854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7">
            <a:extLst>
              <a:ext uri="{FF2B5EF4-FFF2-40B4-BE49-F238E27FC236}">
                <a16:creationId xmlns:a16="http://schemas.microsoft.com/office/drawing/2014/main" id="{27B88881-258D-4346-8BD0-03CD43ED9931}"/>
              </a:ext>
            </a:extLst>
          </p:cNvPr>
          <p:cNvSpPr txBox="1">
            <a:spLocks/>
          </p:cNvSpPr>
          <p:nvPr/>
        </p:nvSpPr>
        <p:spPr>
          <a:xfrm>
            <a:off x="195298" y="3808933"/>
            <a:ext cx="7977663" cy="1991767"/>
          </a:xfrm>
          <a:prstGeom prst="rect">
            <a:avLst/>
          </a:prstGeom>
        </p:spPr>
        <p:txBody>
          <a:bodyPr anchor="ctr"/>
          <a:lstStyle>
            <a:lvl1pPr marL="0" indent="0" algn="l" defTabSz="913692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997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6499" dirty="0">
                <a:solidFill>
                  <a:schemeClr val="bg1"/>
                </a:solidFill>
              </a:rPr>
              <a:t>thank you.</a:t>
            </a:r>
            <a:endParaRPr lang="en-US" sz="6499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20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6C938BFB-96A0-48C6-A1E8-DEA33C66EC81}"/>
              </a:ext>
            </a:extLst>
          </p:cNvPr>
          <p:cNvSpPr/>
          <p:nvPr/>
        </p:nvSpPr>
        <p:spPr>
          <a:xfrm>
            <a:off x="488504" y="2924944"/>
            <a:ext cx="8928992" cy="725776"/>
          </a:xfrm>
          <a:prstGeom prst="rect">
            <a:avLst/>
          </a:prstGeom>
          <a:solidFill>
            <a:srgbClr val="003144"/>
          </a:solidFill>
          <a:ln w="38100">
            <a:noFill/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Arial" charset="0"/>
              </a:rPr>
              <a:t>1.</a:t>
            </a:r>
            <a:r>
              <a:rPr kumimoji="0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Arial" charset="0"/>
              </a:rPr>
              <a:t> </a:t>
            </a:r>
            <a:r>
              <a:rPr lang="en-US" altLang="ja-JP" sz="2400" dirty="0">
                <a:solidFill>
                  <a:prstClr val="white"/>
                </a:solidFill>
                <a:latin typeface="Meiryo UI"/>
                <a:ea typeface="Meiryo UI"/>
              </a:rPr>
              <a:t>Alexa</a:t>
            </a:r>
            <a:r>
              <a:rPr lang="ja-JP" altLang="en-US" sz="2400" dirty="0">
                <a:solidFill>
                  <a:prstClr val="white"/>
                </a:solidFill>
                <a:latin typeface="Meiryo UI"/>
                <a:ea typeface="Meiryo UI"/>
              </a:rPr>
              <a:t>とは</a:t>
            </a:r>
            <a:endParaRPr kumimoji="0" lang="ja-JP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42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5499" y="-2665"/>
            <a:ext cx="6600275" cy="881246"/>
          </a:xfrm>
        </p:spPr>
        <p:txBody>
          <a:bodyPr/>
          <a:lstStyle/>
          <a:p>
            <a:r>
              <a:rPr lang="en-US" altLang="ja-JP" sz="2000" dirty="0"/>
              <a:t>1.</a:t>
            </a:r>
            <a:r>
              <a:rPr lang="ja-JP" altLang="en-US" sz="2000" dirty="0"/>
              <a:t> </a:t>
            </a:r>
            <a:r>
              <a:rPr lang="en-US" sz="2000" dirty="0"/>
              <a:t>Alexa</a:t>
            </a:r>
            <a:r>
              <a:rPr lang="ja-JP" altLang="en-US" sz="2000" dirty="0"/>
              <a:t>とは</a:t>
            </a:r>
            <a:endParaRPr lang="en-US" sz="2000" dirty="0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3D47943-570B-4230-B558-F372A56C5E0C}"/>
              </a:ext>
            </a:extLst>
          </p:cNvPr>
          <p:cNvSpPr/>
          <p:nvPr/>
        </p:nvSpPr>
        <p:spPr>
          <a:xfrm>
            <a:off x="200472" y="900009"/>
            <a:ext cx="95050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Alexa</a:t>
            </a: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とは</a:t>
            </a:r>
            <a:r>
              <a:rPr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Amazon</a:t>
            </a: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が出している音声アシスタントサービスの名称です。</a:t>
            </a:r>
            <a:endParaRPr lang="en-US" altLang="ja-JP" sz="16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0">
              <a:defRPr/>
            </a:pP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「</a:t>
            </a:r>
            <a:r>
              <a:rPr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Amazon Echo</a:t>
            </a: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」などのスマートスピーカーはマイクとスピーカーとインターネットに接続する能力を持っており、</a:t>
            </a:r>
            <a:b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音声データをクラウドとやり取りすることで、しゃべったりします。</a:t>
            </a:r>
            <a:endParaRPr kumimoji="0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41B0133B-78D5-470D-B1A5-751E69B7C3A0}"/>
              </a:ext>
            </a:extLst>
          </p:cNvPr>
          <p:cNvSpPr txBox="1"/>
          <p:nvPr/>
        </p:nvSpPr>
        <p:spPr>
          <a:xfrm>
            <a:off x="511895" y="5925180"/>
            <a:ext cx="933764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</a:t>
            </a: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引用・参照</a:t>
            </a:r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】</a:t>
            </a:r>
          </a:p>
          <a:p>
            <a:pPr marL="257928" indent="-257928">
              <a:buFont typeface="Arial" panose="020B0604020202020204" pitchFamily="34" charset="0"/>
              <a:buChar char="•"/>
            </a:pPr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30</a:t>
            </a: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分で</a:t>
            </a:r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lexa</a:t>
            </a: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自由にしゃべらせよう！自分の好きなように動かせるカスタムスキルの作り方　</a:t>
            </a:r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hlinkClick r:id="rId3"/>
              </a:rPr>
              <a:t>https://www.apnari.com/entry/Alexa-Custom-Skill</a:t>
            </a:r>
            <a:endParaRPr kumimoji="1" lang="ja-JP" altLang="en-US" sz="11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57928" indent="-257928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画像　</a:t>
            </a:r>
            <a:r>
              <a:rPr kumimoji="1" lang="en-US" altLang="ja-JP" sz="1100" dirty="0" err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mazonPrime</a:t>
            </a: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en-US" altLang="ja-JP" sz="1100" dirty="0">
                <a:hlinkClick r:id="rId4"/>
              </a:rPr>
              <a:t>https://www.amazon.co.jp/ref=nav_logo</a:t>
            </a:r>
            <a:endParaRPr kumimoji="1" lang="ja-JP" altLang="en-US" sz="11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E376714B-D4A5-4422-A665-F83072D7FA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20"/>
          <a:stretch/>
        </p:blipFill>
        <p:spPr>
          <a:xfrm>
            <a:off x="2726650" y="1981273"/>
            <a:ext cx="4452700" cy="382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42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 descr="挿絵 が含まれている画像&#10;&#10;自動的に生成された説明">
            <a:extLst>
              <a:ext uri="{FF2B5EF4-FFF2-40B4-BE49-F238E27FC236}">
                <a16:creationId xmlns:a16="http://schemas.microsoft.com/office/drawing/2014/main" id="{956DC1C1-2D35-4E4E-98DE-0E7EE03BA9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5689" y="1857457"/>
            <a:ext cx="1224096" cy="1542426"/>
          </a:xfrm>
          <a:prstGeom prst="rect">
            <a:avLst/>
          </a:prstGeom>
        </p:spPr>
      </p:pic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3D47943-570B-4230-B558-F372A56C5E0C}"/>
              </a:ext>
            </a:extLst>
          </p:cNvPr>
          <p:cNvSpPr/>
          <p:nvPr/>
        </p:nvSpPr>
        <p:spPr>
          <a:xfrm>
            <a:off x="200472" y="900009"/>
            <a:ext cx="95050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スキルとは、</a:t>
            </a:r>
            <a:r>
              <a:rPr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Alexa</a:t>
            </a: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サービス上で動作する「アプリ」のようなものです。</a:t>
            </a:r>
          </a:p>
          <a:p>
            <a:pPr lvl="0">
              <a:defRPr/>
            </a:pPr>
            <a:r>
              <a:rPr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iPhone</a:t>
            </a: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が</a:t>
            </a:r>
            <a:r>
              <a:rPr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App Store</a:t>
            </a: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からアプリをインストールしていろいろ便利になるように、</a:t>
            </a:r>
            <a:r>
              <a:rPr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Alexa</a:t>
            </a: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もスキルを使うことでさらに便利になります！</a:t>
            </a:r>
          </a:p>
        </p:txBody>
      </p:sp>
      <p:pic>
        <p:nvPicPr>
          <p:cNvPr id="8" name="図 7" descr="挿絵, 抽象 が含まれている画像&#10;&#10;自動的に生成された説明">
            <a:extLst>
              <a:ext uri="{FF2B5EF4-FFF2-40B4-BE49-F238E27FC236}">
                <a16:creationId xmlns:a16="http://schemas.microsoft.com/office/drawing/2014/main" id="{411859CF-9273-4D03-95EA-66E303862F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70" y="2135276"/>
            <a:ext cx="936104" cy="1528970"/>
          </a:xfrm>
          <a:prstGeom prst="rect">
            <a:avLst/>
          </a:prstGeom>
        </p:spPr>
      </p:pic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107F34BE-B3F1-4DB2-A3C8-0F0C424135E4}"/>
              </a:ext>
            </a:extLst>
          </p:cNvPr>
          <p:cNvSpPr txBox="1"/>
          <p:nvPr/>
        </p:nvSpPr>
        <p:spPr>
          <a:xfrm>
            <a:off x="511895" y="5589240"/>
            <a:ext cx="93376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【</a:t>
            </a: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引用・参照</a:t>
            </a:r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】</a:t>
            </a:r>
          </a:p>
          <a:p>
            <a:pPr marL="257928" indent="-257928">
              <a:buFont typeface="Arial" panose="020B0604020202020204" pitchFamily="34" charset="0"/>
              <a:buChar char="•"/>
            </a:pPr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30</a:t>
            </a: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分で</a:t>
            </a:r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lexa</a:t>
            </a: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自由にしゃべらせよう！自分の好きなように動かせるカスタムスキルの作り方　</a:t>
            </a:r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hlinkClick r:id="rId5"/>
              </a:rPr>
              <a:t>https://www.apnari.com/entry/Alexa-Custom-Skill</a:t>
            </a:r>
            <a:endParaRPr kumimoji="1" lang="ja-JP" altLang="en-US" sz="11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57928" indent="-257928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画像　</a:t>
            </a:r>
            <a:r>
              <a:rPr kumimoji="1" lang="en-US" altLang="ja-JP" sz="1100" dirty="0" err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mazonPrime</a:t>
            </a: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r>
              <a:rPr lang="en-US" altLang="ja-JP" sz="1100" dirty="0">
                <a:hlinkClick r:id="rId6"/>
              </a:rPr>
              <a:t>https://www.amazon.co.jp/ref=nav_logo</a:t>
            </a:r>
            <a:endParaRPr lang="en-US" altLang="ja-JP" sz="1100" dirty="0"/>
          </a:p>
          <a:p>
            <a:pPr marL="257928" indent="-257928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画像　</a:t>
            </a:r>
            <a:r>
              <a:rPr kumimoji="1"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hlinkClick r:id="rId7"/>
              </a:rPr>
              <a:t>https://images.app.goo.gl/HioJbfzVTSUcPSvUA</a:t>
            </a:r>
            <a:endParaRPr kumimoji="1" lang="en-US" altLang="ja-JP" sz="11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0" name="吹き出し: 角を丸めた四角形 9">
            <a:extLst>
              <a:ext uri="{FF2B5EF4-FFF2-40B4-BE49-F238E27FC236}">
                <a16:creationId xmlns:a16="http://schemas.microsoft.com/office/drawing/2014/main" id="{FB8D1C56-EC39-4411-B1E7-609AB7417CB9}"/>
              </a:ext>
            </a:extLst>
          </p:cNvPr>
          <p:cNvSpPr/>
          <p:nvPr/>
        </p:nvSpPr>
        <p:spPr>
          <a:xfrm>
            <a:off x="1248075" y="1776762"/>
            <a:ext cx="2336081" cy="459524"/>
          </a:xfrm>
          <a:prstGeom prst="wedgeRoundRectCallout">
            <a:avLst>
              <a:gd name="adj1" fmla="val -43538"/>
              <a:gd name="adj2" fmla="val 96769"/>
              <a:gd name="adj3" fmla="val 16667"/>
            </a:avLst>
          </a:prstGeom>
          <a:solidFill>
            <a:srgbClr val="0070C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おじさんは今何をしているの？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61186C20-FCD4-48B8-A39F-BF6C5844888F}"/>
              </a:ext>
            </a:extLst>
          </p:cNvPr>
          <p:cNvSpPr txBox="1"/>
          <p:nvPr/>
        </p:nvSpPr>
        <p:spPr>
          <a:xfrm>
            <a:off x="824279" y="6858000"/>
            <a:ext cx="82574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900">
                <a:hlinkClick r:id="rId8" tooltip="http://way2h.blogspot.com/2013/02/how-to-check-who-else-connected-on-my.html"/>
              </a:rPr>
              <a:t>この写真</a:t>
            </a:r>
            <a:r>
              <a:rPr lang="ja-JP" altLang="en-US" sz="900"/>
              <a:t> の作成者 不明な作成者 は </a:t>
            </a:r>
            <a:r>
              <a:rPr lang="ja-JP" altLang="en-US" sz="900">
                <a:hlinkClick r:id="rId9" tooltip="https://creativecommons.org/licenses/by-sa/3.0/"/>
              </a:rPr>
              <a:t>CC BY-SA</a:t>
            </a:r>
            <a:r>
              <a:rPr lang="ja-JP" altLang="en-US" sz="900"/>
              <a:t> のライセンスを許諾されています</a:t>
            </a:r>
          </a:p>
        </p:txBody>
      </p: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7AB60140-6BDA-4007-B4BA-8B67338B55C2}"/>
              </a:ext>
            </a:extLst>
          </p:cNvPr>
          <p:cNvGrpSpPr/>
          <p:nvPr/>
        </p:nvGrpSpPr>
        <p:grpSpPr>
          <a:xfrm>
            <a:off x="272480" y="3828758"/>
            <a:ext cx="1262582" cy="1040401"/>
            <a:chOff x="488504" y="4404823"/>
            <a:chExt cx="1262582" cy="1040401"/>
          </a:xfrm>
        </p:grpSpPr>
        <p:pic>
          <p:nvPicPr>
            <p:cNvPr id="5" name="図 4" descr="座る, ホワイト, テーブル, 表面 が含まれている画像&#10;&#10;自動的に生成された説明">
              <a:extLst>
                <a:ext uri="{FF2B5EF4-FFF2-40B4-BE49-F238E27FC236}">
                  <a16:creationId xmlns:a16="http://schemas.microsoft.com/office/drawing/2014/main" id="{E08BD0E5-2FE2-4F97-B10E-C506BCBACE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006" t="30293" r="8595" b="22714"/>
            <a:stretch/>
          </p:blipFill>
          <p:spPr>
            <a:xfrm>
              <a:off x="488504" y="4614227"/>
              <a:ext cx="1262582" cy="830997"/>
            </a:xfrm>
            <a:prstGeom prst="rect">
              <a:avLst/>
            </a:prstGeom>
          </p:spPr>
        </p:pic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6B6CDFB8-D989-470C-8AA2-40D3F6D935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8"/>
                </a:ext>
              </a:extLst>
            </a:blip>
            <a:srcRect l="4654" r="5527" b="3800"/>
            <a:stretch/>
          </p:blipFill>
          <p:spPr>
            <a:xfrm>
              <a:off x="845018" y="4404823"/>
              <a:ext cx="360109" cy="320321"/>
            </a:xfrm>
            <a:prstGeom prst="rect">
              <a:avLst/>
            </a:prstGeom>
          </p:spPr>
        </p:pic>
      </p:grp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C5DC909E-72F0-4B87-8B39-95089E8498A2}"/>
              </a:ext>
            </a:extLst>
          </p:cNvPr>
          <p:cNvGrpSpPr/>
          <p:nvPr/>
        </p:nvGrpSpPr>
        <p:grpSpPr>
          <a:xfrm>
            <a:off x="1208584" y="3899528"/>
            <a:ext cx="1013746" cy="942490"/>
            <a:chOff x="1496616" y="4475593"/>
            <a:chExt cx="1013746" cy="942490"/>
          </a:xfrm>
        </p:grpSpPr>
        <p:sp>
          <p:nvSpPr>
            <p:cNvPr id="18" name="AutoShape 40">
              <a:extLst>
                <a:ext uri="{FF2B5EF4-FFF2-40B4-BE49-F238E27FC236}">
                  <a16:creationId xmlns:a16="http://schemas.microsoft.com/office/drawing/2014/main" id="{67C619B2-031B-4D2B-9E84-C58692304C3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1666368" y="5221103"/>
              <a:ext cx="674241" cy="196980"/>
            </a:xfrm>
            <a:prstGeom prst="rightArrow">
              <a:avLst>
                <a:gd name="adj1" fmla="val 50028"/>
                <a:gd name="adj2" fmla="val 37014"/>
              </a:avLst>
            </a:prstGeom>
            <a:solidFill>
              <a:srgbClr val="0070C0"/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81679" tIns="40123" rIns="81679" bIns="40123" anchor="ctr"/>
            <a:lstStyle/>
            <a:p>
              <a:pPr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endParaRPr lang="en-GB" sz="724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19" name="AutoShape 40">
              <a:extLst>
                <a:ext uri="{FF2B5EF4-FFF2-40B4-BE49-F238E27FC236}">
                  <a16:creationId xmlns:a16="http://schemas.microsoft.com/office/drawing/2014/main" id="{B19CA2C0-0B31-4AE2-A261-AA52D6498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6918" y="4475593"/>
              <a:ext cx="674241" cy="196980"/>
            </a:xfrm>
            <a:prstGeom prst="rightArrow">
              <a:avLst>
                <a:gd name="adj1" fmla="val 50028"/>
                <a:gd name="adj2" fmla="val 37014"/>
              </a:avLst>
            </a:prstGeom>
            <a:solidFill>
              <a:srgbClr val="0070C0"/>
            </a:solidFill>
            <a:ln w="12700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81679" tIns="40123" rIns="81679" bIns="40123" anchor="ctr"/>
            <a:lstStyle/>
            <a:p>
              <a:pPr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endParaRPr lang="en-GB" sz="724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12D0B05A-BD3A-4CE3-B06C-0C3DAE3CB858}"/>
                </a:ext>
              </a:extLst>
            </p:cNvPr>
            <p:cNvSpPr/>
            <p:nvPr/>
          </p:nvSpPr>
          <p:spPr>
            <a:xfrm>
              <a:off x="1496616" y="4820317"/>
              <a:ext cx="1013746" cy="287498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wrap="square" lIns="36000" tIns="36000" rIns="36000" bIns="36000" rtlCol="0" anchor="ctr"/>
            <a:lstStyle/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400" kern="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音声データ</a:t>
              </a:r>
              <a:endPara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A0243B91-0545-49A6-BADF-9518C0C1CC3B}"/>
              </a:ext>
            </a:extLst>
          </p:cNvPr>
          <p:cNvGrpSpPr/>
          <p:nvPr/>
        </p:nvGrpSpPr>
        <p:grpSpPr>
          <a:xfrm>
            <a:off x="1903466" y="3356991"/>
            <a:ext cx="4788210" cy="1800201"/>
            <a:chOff x="2330634" y="3933056"/>
            <a:chExt cx="4788210" cy="1800201"/>
          </a:xfrm>
        </p:grpSpPr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A2777FE2-D5C7-4099-A95E-7DEE6868CD2A}"/>
                </a:ext>
              </a:extLst>
            </p:cNvPr>
            <p:cNvSpPr/>
            <p:nvPr/>
          </p:nvSpPr>
          <p:spPr>
            <a:xfrm>
              <a:off x="2589850" y="4099011"/>
              <a:ext cx="4528994" cy="1634246"/>
            </a:xfrm>
            <a:prstGeom prst="rect">
              <a:avLst/>
            </a:prstGeom>
            <a:solidFill>
              <a:srgbClr val="0070C0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wrap="square" lIns="36000" tIns="36000" rIns="36000" bIns="36000" rtlCol="0" anchor="ctr"/>
            <a:lstStyle/>
            <a:p>
              <a:pPr marR="0" lvl="0" algn="l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endPara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70B9C945-79EA-4D3D-AE5F-EA2EBF696590}"/>
                </a:ext>
              </a:extLst>
            </p:cNvPr>
            <p:cNvSpPr/>
            <p:nvPr/>
          </p:nvSpPr>
          <p:spPr>
            <a:xfrm>
              <a:off x="2741299" y="4212938"/>
              <a:ext cx="1347606" cy="68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wrap="square" lIns="36000" tIns="36000" rIns="36000" bIns="36000" rtlCol="0" anchor="ctr"/>
            <a:lstStyle/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kern="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音声→テキスト変換</a:t>
              </a:r>
              <a:endPara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C73F0EAF-5E72-4A3E-97A8-1C6D4F34196C}"/>
                </a:ext>
              </a:extLst>
            </p:cNvPr>
            <p:cNvSpPr/>
            <p:nvPr/>
          </p:nvSpPr>
          <p:spPr>
            <a:xfrm>
              <a:off x="2741299" y="4977248"/>
              <a:ext cx="1347606" cy="68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wrap="square" lIns="36000" tIns="36000" rIns="36000" bIns="36000" rtlCol="0" anchor="ctr"/>
            <a:lstStyle/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kern="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テキスト→音声変換</a:t>
              </a:r>
              <a:endPara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CC383C00-B1B4-4DF6-A534-4FA3BCE3D588}"/>
                </a:ext>
              </a:extLst>
            </p:cNvPr>
            <p:cNvSpPr/>
            <p:nvPr/>
          </p:nvSpPr>
          <p:spPr>
            <a:xfrm>
              <a:off x="4181458" y="4212938"/>
              <a:ext cx="1347606" cy="68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wrap="square" lIns="36000" tIns="36000" rIns="36000" bIns="36000" rtlCol="0" anchor="ctr"/>
            <a:lstStyle/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自然言語理解</a:t>
              </a:r>
              <a:endPara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kern="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スキルの呼び出し</a:t>
              </a:r>
              <a:endPara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90BD45D2-B3F2-490A-B056-B369419CA405}"/>
                </a:ext>
              </a:extLst>
            </p:cNvPr>
            <p:cNvSpPr/>
            <p:nvPr/>
          </p:nvSpPr>
          <p:spPr>
            <a:xfrm>
              <a:off x="2330634" y="3933056"/>
              <a:ext cx="1326222" cy="376116"/>
            </a:xfrm>
            <a:prstGeom prst="rect">
              <a:avLst/>
            </a:prstGeom>
            <a:solidFill>
              <a:srgbClr val="0070C0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wrap="square" lIns="36000" tIns="36000" rIns="36000" bIns="36000" rtlCol="0" anchor="ctr"/>
            <a:lstStyle/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ja-JP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Alexa</a:t>
              </a:r>
              <a:r>
                <a:rPr kumimoji="1" lang="ja-JP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クラウド</a:t>
              </a:r>
            </a:p>
          </p:txBody>
        </p:sp>
        <p:cxnSp>
          <p:nvCxnSpPr>
            <p:cNvPr id="30" name="直線矢印コネクタ 63">
              <a:extLst>
                <a:ext uri="{FF2B5EF4-FFF2-40B4-BE49-F238E27FC236}">
                  <a16:creationId xmlns:a16="http://schemas.microsoft.com/office/drawing/2014/main" id="{D41BED36-1214-45B4-A5A6-44379906A8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016896" y="4581128"/>
              <a:ext cx="360000" cy="0"/>
            </a:xfrm>
            <a:prstGeom prst="straightConnector1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37F1E572-CAA0-41F0-A67C-C5D2DE8893EF}"/>
                </a:ext>
              </a:extLst>
            </p:cNvPr>
            <p:cNvSpPr/>
            <p:nvPr/>
          </p:nvSpPr>
          <p:spPr>
            <a:xfrm>
              <a:off x="5621618" y="4212938"/>
              <a:ext cx="1347606" cy="1444897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wrap="square" lIns="36000" tIns="36000" rIns="36000" bIns="36000" rtlCol="0" anchor="t"/>
            <a:lstStyle/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600" kern="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スキル</a:t>
              </a:r>
              <a:endParaRPr kumimoji="1" lang="en-US" altLang="ja-JP" sz="1600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　インテント（意図）</a:t>
              </a:r>
              <a:endPara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の判断</a:t>
              </a:r>
            </a:p>
          </p:txBody>
        </p:sp>
        <p:cxnSp>
          <p:nvCxnSpPr>
            <p:cNvPr id="33" name="直線矢印コネクタ 63">
              <a:extLst>
                <a:ext uri="{FF2B5EF4-FFF2-40B4-BE49-F238E27FC236}">
                  <a16:creationId xmlns:a16="http://schemas.microsoft.com/office/drawing/2014/main" id="{28C5E5F7-B055-4639-99E8-AC7233C9DF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10329" y="4577716"/>
              <a:ext cx="360000" cy="0"/>
            </a:xfrm>
            <a:prstGeom prst="straightConnector1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35" name="直線矢印コネクタ 63">
              <a:extLst>
                <a:ext uri="{FF2B5EF4-FFF2-40B4-BE49-F238E27FC236}">
                  <a16:creationId xmlns:a16="http://schemas.microsoft.com/office/drawing/2014/main" id="{01A1A4F3-BD01-491E-995F-79D3BD99BE58}"/>
                </a:ext>
              </a:extLst>
            </p:cNvPr>
            <p:cNvCxnSpPr>
              <a:cxnSpLocks/>
            </p:cNvCxnSpPr>
            <p:nvPr/>
          </p:nvCxnSpPr>
          <p:spPr>
            <a:xfrm>
              <a:off x="4017096" y="5301208"/>
              <a:ext cx="1800000" cy="0"/>
            </a:xfrm>
            <a:prstGeom prst="straightConnector1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B74C23A4-715F-48B3-91B1-E8C53C729730}"/>
              </a:ext>
            </a:extLst>
          </p:cNvPr>
          <p:cNvGrpSpPr/>
          <p:nvPr/>
        </p:nvGrpSpPr>
        <p:grpSpPr>
          <a:xfrm>
            <a:off x="7041232" y="3351170"/>
            <a:ext cx="2448272" cy="1800201"/>
            <a:chOff x="2330634" y="3933056"/>
            <a:chExt cx="2448272" cy="1800201"/>
          </a:xfrm>
        </p:grpSpPr>
        <p:sp>
          <p:nvSpPr>
            <p:cNvPr id="41" name="正方形/長方形 40">
              <a:extLst>
                <a:ext uri="{FF2B5EF4-FFF2-40B4-BE49-F238E27FC236}">
                  <a16:creationId xmlns:a16="http://schemas.microsoft.com/office/drawing/2014/main" id="{7FD2BD77-7976-4981-8A42-8E1EE2948850}"/>
                </a:ext>
              </a:extLst>
            </p:cNvPr>
            <p:cNvSpPr/>
            <p:nvPr/>
          </p:nvSpPr>
          <p:spPr>
            <a:xfrm>
              <a:off x="2589850" y="4099011"/>
              <a:ext cx="2189056" cy="1634246"/>
            </a:xfrm>
            <a:prstGeom prst="rect">
              <a:avLst/>
            </a:prstGeom>
            <a:solidFill>
              <a:srgbClr val="003144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wrap="square" lIns="36000" tIns="36000" rIns="36000" bIns="36000" rtlCol="0" anchor="ctr"/>
            <a:lstStyle/>
            <a:p>
              <a:pPr marR="0" lvl="0" algn="l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endPara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2" name="正方形/長方形 41">
              <a:extLst>
                <a:ext uri="{FF2B5EF4-FFF2-40B4-BE49-F238E27FC236}">
                  <a16:creationId xmlns:a16="http://schemas.microsoft.com/office/drawing/2014/main" id="{2F8FA2A1-4BF9-4ED9-8928-740AC9DDDAC2}"/>
                </a:ext>
              </a:extLst>
            </p:cNvPr>
            <p:cNvSpPr/>
            <p:nvPr/>
          </p:nvSpPr>
          <p:spPr>
            <a:xfrm>
              <a:off x="2741297" y="4212938"/>
              <a:ext cx="1872000" cy="140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wrap="square" lIns="36000" tIns="144000" rIns="36000" bIns="36000" rtlCol="0" anchor="t"/>
            <a:lstStyle/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3144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処理</a:t>
              </a:r>
              <a:endPara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rgbClr val="00314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kern="0" dirty="0">
                  <a:solidFill>
                    <a:srgbClr val="003144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インテントを受けて</a:t>
              </a:r>
              <a:endParaRPr kumimoji="1" lang="en-US" altLang="ja-JP" sz="1200" kern="0" dirty="0">
                <a:solidFill>
                  <a:srgbClr val="00314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3144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いろいろ処理して</a:t>
              </a:r>
              <a:endPara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rgbClr val="00314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kern="0" dirty="0">
                  <a:solidFill>
                    <a:srgbClr val="003144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レスポンスを返す</a:t>
              </a:r>
              <a:endPara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314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45" name="正方形/長方形 44">
              <a:extLst>
                <a:ext uri="{FF2B5EF4-FFF2-40B4-BE49-F238E27FC236}">
                  <a16:creationId xmlns:a16="http://schemas.microsoft.com/office/drawing/2014/main" id="{89B326FB-670D-40F3-B83B-275840A0A7AB}"/>
                </a:ext>
              </a:extLst>
            </p:cNvPr>
            <p:cNvSpPr/>
            <p:nvPr/>
          </p:nvSpPr>
          <p:spPr>
            <a:xfrm>
              <a:off x="2330634" y="3933056"/>
              <a:ext cx="1326222" cy="376116"/>
            </a:xfrm>
            <a:prstGeom prst="rect">
              <a:avLst/>
            </a:prstGeom>
            <a:solidFill>
              <a:srgbClr val="003144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wrap="square" lIns="36000" tIns="36000" rIns="36000" bIns="36000" rtlCol="0" anchor="ctr"/>
            <a:lstStyle/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en-US" altLang="ja-JP" sz="1600" kern="0" dirty="0" err="1">
                  <a:solidFill>
                    <a:schemeClr val="bg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Lamda</a:t>
              </a:r>
              <a:endParaRPr kumimoji="1" lang="ja-JP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grpSp>
        <p:nvGrpSpPr>
          <p:cNvPr id="59" name="グループ化 58">
            <a:extLst>
              <a:ext uri="{FF2B5EF4-FFF2-40B4-BE49-F238E27FC236}">
                <a16:creationId xmlns:a16="http://schemas.microsoft.com/office/drawing/2014/main" id="{D467EC90-87B3-4804-AF8E-7AF786F88A34}"/>
              </a:ext>
            </a:extLst>
          </p:cNvPr>
          <p:cNvGrpSpPr/>
          <p:nvPr/>
        </p:nvGrpSpPr>
        <p:grpSpPr>
          <a:xfrm>
            <a:off x="6504923" y="3849628"/>
            <a:ext cx="1014393" cy="1216441"/>
            <a:chOff x="6576931" y="2337460"/>
            <a:chExt cx="1014393" cy="1216441"/>
          </a:xfrm>
        </p:grpSpPr>
        <p:grpSp>
          <p:nvGrpSpPr>
            <p:cNvPr id="54" name="グループ化 53">
              <a:extLst>
                <a:ext uri="{FF2B5EF4-FFF2-40B4-BE49-F238E27FC236}">
                  <a16:creationId xmlns:a16="http://schemas.microsoft.com/office/drawing/2014/main" id="{17EEF2CE-835F-430D-B164-413A3B3F0B86}"/>
                </a:ext>
              </a:extLst>
            </p:cNvPr>
            <p:cNvGrpSpPr/>
            <p:nvPr/>
          </p:nvGrpSpPr>
          <p:grpSpPr>
            <a:xfrm>
              <a:off x="6576931" y="2337460"/>
              <a:ext cx="1013746" cy="942490"/>
              <a:chOff x="1496616" y="4475593"/>
              <a:chExt cx="1013746" cy="942490"/>
            </a:xfrm>
          </p:grpSpPr>
          <p:sp>
            <p:nvSpPr>
              <p:cNvPr id="55" name="AutoShape 40">
                <a:extLst>
                  <a:ext uri="{FF2B5EF4-FFF2-40B4-BE49-F238E27FC236}">
                    <a16:creationId xmlns:a16="http://schemas.microsoft.com/office/drawing/2014/main" id="{1720EED2-0646-4BEE-9FDA-09C87458F8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1666368" y="5221103"/>
                <a:ext cx="674241" cy="196980"/>
              </a:xfrm>
              <a:prstGeom prst="rightArrow">
                <a:avLst>
                  <a:gd name="adj1" fmla="val 50028"/>
                  <a:gd name="adj2" fmla="val 37014"/>
                </a:avLst>
              </a:prstGeom>
              <a:solidFill>
                <a:srgbClr val="003144"/>
              </a:solidFill>
              <a:ln w="12700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81679" tIns="40123" rIns="81679" bIns="40123" anchor="ctr"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en-GB" sz="724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endParaRPr>
              </a:p>
            </p:txBody>
          </p:sp>
          <p:sp>
            <p:nvSpPr>
              <p:cNvPr id="56" name="AutoShape 40">
                <a:extLst>
                  <a:ext uri="{FF2B5EF4-FFF2-40B4-BE49-F238E27FC236}">
                    <a16:creationId xmlns:a16="http://schemas.microsoft.com/office/drawing/2014/main" id="{2C00CC04-9AB5-4DA0-8808-C935B07206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918" y="4475593"/>
                <a:ext cx="674241" cy="196980"/>
              </a:xfrm>
              <a:prstGeom prst="rightArrow">
                <a:avLst>
                  <a:gd name="adj1" fmla="val 50028"/>
                  <a:gd name="adj2" fmla="val 37014"/>
                </a:avLst>
              </a:prstGeom>
              <a:solidFill>
                <a:srgbClr val="0070C0"/>
              </a:solidFill>
              <a:ln w="12700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81679" tIns="40123" rIns="81679" bIns="40123" anchor="ctr"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en-GB" sz="724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endParaRPr>
              </a:p>
            </p:txBody>
          </p:sp>
          <p:sp>
            <p:nvSpPr>
              <p:cNvPr id="57" name="正方形/長方形 56">
                <a:extLst>
                  <a:ext uri="{FF2B5EF4-FFF2-40B4-BE49-F238E27FC236}">
                    <a16:creationId xmlns:a16="http://schemas.microsoft.com/office/drawing/2014/main" id="{1B0842B8-CB5B-4E0A-988F-E080E3D5C2E5}"/>
                  </a:ext>
                </a:extLst>
              </p:cNvPr>
              <p:cNvSpPr/>
              <p:nvPr/>
            </p:nvSpPr>
            <p:spPr>
              <a:xfrm>
                <a:off x="1496616" y="4614883"/>
                <a:ext cx="1013746" cy="287498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</a:ln>
              <a:effectLst/>
            </p:spPr>
            <p:txBody>
              <a:bodyPr wrap="square" lIns="36000" tIns="36000" rIns="36000" bIns="36000" rtlCol="0" anchor="ctr"/>
              <a:lstStyle/>
              <a:p>
                <a:pPr marR="0" lvl="0" algn="ctr" defTabSz="81535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r>
                  <a:rPr kumimoji="1" lang="ja-JP" alt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Meiryo UI" panose="020B0604030504040204" pitchFamily="50" charset="-128"/>
                    <a:ea typeface="Meiryo UI" panose="020B0604030504040204" pitchFamily="50" charset="-128"/>
                    <a:cs typeface="Meiryo UI" panose="020B0604030504040204" pitchFamily="50" charset="-128"/>
                  </a:rPr>
                  <a:t>インテント</a:t>
                </a:r>
              </a:p>
            </p:txBody>
          </p:sp>
        </p:grpSp>
        <p:sp>
          <p:nvSpPr>
            <p:cNvPr id="58" name="正方形/長方形 57">
              <a:extLst>
                <a:ext uri="{FF2B5EF4-FFF2-40B4-BE49-F238E27FC236}">
                  <a16:creationId xmlns:a16="http://schemas.microsoft.com/office/drawing/2014/main" id="{438E7DE8-DA80-4217-B98E-0563CF1EAD1A}"/>
                </a:ext>
              </a:extLst>
            </p:cNvPr>
            <p:cNvSpPr/>
            <p:nvPr/>
          </p:nvSpPr>
          <p:spPr>
            <a:xfrm>
              <a:off x="6577578" y="3266403"/>
              <a:ext cx="1013746" cy="287498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wrap="square" lIns="36000" tIns="36000" rIns="36000" bIns="36000" rtlCol="0" anchor="ctr"/>
            <a:lstStyle/>
            <a:p>
              <a:pPr marR="0" lvl="0" algn="ctr" defTabSz="81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kumimoji="1" lang="ja-JP" altLang="en-US" sz="1200" kern="0" dirty="0">
                  <a:solidFill>
                    <a:srgbClr val="003144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レスポンス</a:t>
              </a:r>
              <a:endPara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3144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sp>
        <p:nvSpPr>
          <p:cNvPr id="60" name="吹き出し: 角を丸めた四角形 59">
            <a:extLst>
              <a:ext uri="{FF2B5EF4-FFF2-40B4-BE49-F238E27FC236}">
                <a16:creationId xmlns:a16="http://schemas.microsoft.com/office/drawing/2014/main" id="{08F50397-132D-4400-9A45-1E51D8752AD1}"/>
              </a:ext>
            </a:extLst>
          </p:cNvPr>
          <p:cNvSpPr/>
          <p:nvPr/>
        </p:nvSpPr>
        <p:spPr>
          <a:xfrm>
            <a:off x="6331220" y="1778490"/>
            <a:ext cx="2241349" cy="463568"/>
          </a:xfrm>
          <a:prstGeom prst="wedgeRoundRectCallout">
            <a:avLst>
              <a:gd name="adj1" fmla="val 33843"/>
              <a:gd name="adj2" fmla="val 97771"/>
              <a:gd name="adj3" fmla="val 16667"/>
            </a:avLst>
          </a:prstGeom>
          <a:solidFill>
            <a:srgbClr val="003144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昼寝しているのだ。</a:t>
            </a:r>
            <a:endParaRPr kumimoji="1" lang="en-US" altLang="ja-JP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1" name="左中かっこ 60">
            <a:extLst>
              <a:ext uri="{FF2B5EF4-FFF2-40B4-BE49-F238E27FC236}">
                <a16:creationId xmlns:a16="http://schemas.microsoft.com/office/drawing/2014/main" id="{14CC5FCB-7ED7-48D1-9C84-E16924A66641}"/>
              </a:ext>
            </a:extLst>
          </p:cNvPr>
          <p:cNvSpPr/>
          <p:nvPr/>
        </p:nvSpPr>
        <p:spPr>
          <a:xfrm rot="5400000" flipH="1">
            <a:off x="7178368" y="3173273"/>
            <a:ext cx="287498" cy="4255335"/>
          </a:xfrm>
          <a:prstGeom prst="leftBrace">
            <a:avLst>
              <a:gd name="adj1" fmla="val 20543"/>
              <a:gd name="adj2" fmla="val 50546"/>
            </a:avLst>
          </a:prstGeom>
          <a:noFill/>
          <a:ln w="28575" cap="flat" cmpd="sng" algn="ctr">
            <a:gradFill>
              <a:gsLst>
                <a:gs pos="0">
                  <a:srgbClr val="003144"/>
                </a:gs>
                <a:gs pos="100000">
                  <a:srgbClr val="0070C0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62" name="正方形/長方形 61">
            <a:extLst>
              <a:ext uri="{FF2B5EF4-FFF2-40B4-BE49-F238E27FC236}">
                <a16:creationId xmlns:a16="http://schemas.microsoft.com/office/drawing/2014/main" id="{7D160F5D-0AF1-4FB8-BD48-4752E974480A}"/>
              </a:ext>
            </a:extLst>
          </p:cNvPr>
          <p:cNvSpPr/>
          <p:nvPr/>
        </p:nvSpPr>
        <p:spPr>
          <a:xfrm>
            <a:off x="6407632" y="5445491"/>
            <a:ext cx="1785632" cy="287498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wrap="square" lIns="36000" tIns="36000" rIns="36000" bIns="36000" rtlCol="0" anchor="ctr"/>
          <a:lstStyle/>
          <a:p>
            <a:pPr marR="0" lvl="0" algn="ctr" defTabSz="81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ja-JP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作成必要範囲</a:t>
            </a:r>
          </a:p>
        </p:txBody>
      </p:sp>
      <p:sp>
        <p:nvSpPr>
          <p:cNvPr id="63" name="Freeform 16">
            <a:extLst>
              <a:ext uri="{FF2B5EF4-FFF2-40B4-BE49-F238E27FC236}">
                <a16:creationId xmlns:a16="http://schemas.microsoft.com/office/drawing/2014/main" id="{B9AEE899-2FDB-4D86-B396-6B3E74363B84}"/>
              </a:ext>
            </a:extLst>
          </p:cNvPr>
          <p:cNvSpPr>
            <a:spLocks noEditPoints="1"/>
          </p:cNvSpPr>
          <p:nvPr/>
        </p:nvSpPr>
        <p:spPr bwMode="auto">
          <a:xfrm>
            <a:off x="3211655" y="3174561"/>
            <a:ext cx="709280" cy="477837"/>
          </a:xfrm>
          <a:custGeom>
            <a:avLst/>
            <a:gdLst>
              <a:gd name="T0" fmla="*/ 304 w 356"/>
              <a:gd name="T1" fmla="*/ 236 h 236"/>
              <a:gd name="T2" fmla="*/ 297 w 356"/>
              <a:gd name="T3" fmla="*/ 236 h 236"/>
              <a:gd name="T4" fmla="*/ 56 w 356"/>
              <a:gd name="T5" fmla="*/ 236 h 236"/>
              <a:gd name="T6" fmla="*/ 0 w 356"/>
              <a:gd name="T7" fmla="*/ 186 h 236"/>
              <a:gd name="T8" fmla="*/ 0 w 356"/>
              <a:gd name="T9" fmla="*/ 182 h 236"/>
              <a:gd name="T10" fmla="*/ 57 w 356"/>
              <a:gd name="T11" fmla="*/ 88 h 236"/>
              <a:gd name="T12" fmla="*/ 151 w 356"/>
              <a:gd name="T13" fmla="*/ 0 h 236"/>
              <a:gd name="T14" fmla="*/ 233 w 356"/>
              <a:gd name="T15" fmla="*/ 47 h 236"/>
              <a:gd name="T16" fmla="*/ 322 w 356"/>
              <a:gd name="T17" fmla="*/ 132 h 236"/>
              <a:gd name="T18" fmla="*/ 356 w 356"/>
              <a:gd name="T19" fmla="*/ 183 h 236"/>
              <a:gd name="T20" fmla="*/ 356 w 356"/>
              <a:gd name="T21" fmla="*/ 185 h 236"/>
              <a:gd name="T22" fmla="*/ 356 w 356"/>
              <a:gd name="T23" fmla="*/ 186 h 236"/>
              <a:gd name="T24" fmla="*/ 346 w 356"/>
              <a:gd name="T25" fmla="*/ 215 h 236"/>
              <a:gd name="T26" fmla="*/ 304 w 356"/>
              <a:gd name="T27" fmla="*/ 236 h 236"/>
              <a:gd name="T28" fmla="*/ 151 w 356"/>
              <a:gd name="T29" fmla="*/ 31 h 236"/>
              <a:gd name="T30" fmla="*/ 88 w 356"/>
              <a:gd name="T31" fmla="*/ 94 h 236"/>
              <a:gd name="T32" fmla="*/ 88 w 356"/>
              <a:gd name="T33" fmla="*/ 96 h 236"/>
              <a:gd name="T34" fmla="*/ 88 w 356"/>
              <a:gd name="T35" fmla="*/ 109 h 236"/>
              <a:gd name="T36" fmla="*/ 77 w 356"/>
              <a:gd name="T37" fmla="*/ 113 h 236"/>
              <a:gd name="T38" fmla="*/ 31 w 356"/>
              <a:gd name="T39" fmla="*/ 182 h 236"/>
              <a:gd name="T40" fmla="*/ 31 w 356"/>
              <a:gd name="T41" fmla="*/ 186 h 236"/>
              <a:gd name="T42" fmla="*/ 56 w 356"/>
              <a:gd name="T43" fmla="*/ 205 h 236"/>
              <a:gd name="T44" fmla="*/ 300 w 356"/>
              <a:gd name="T45" fmla="*/ 205 h 236"/>
              <a:gd name="T46" fmla="*/ 317 w 356"/>
              <a:gd name="T47" fmla="*/ 202 h 236"/>
              <a:gd name="T48" fmla="*/ 325 w 356"/>
              <a:gd name="T49" fmla="*/ 187 h 236"/>
              <a:gd name="T50" fmla="*/ 325 w 356"/>
              <a:gd name="T51" fmla="*/ 183 h 236"/>
              <a:gd name="T52" fmla="*/ 306 w 356"/>
              <a:gd name="T53" fmla="*/ 160 h 236"/>
              <a:gd name="T54" fmla="*/ 287 w 356"/>
              <a:gd name="T55" fmla="*/ 159 h 236"/>
              <a:gd name="T56" fmla="*/ 292 w 356"/>
              <a:gd name="T57" fmla="*/ 141 h 236"/>
              <a:gd name="T58" fmla="*/ 292 w 356"/>
              <a:gd name="T59" fmla="*/ 140 h 236"/>
              <a:gd name="T60" fmla="*/ 233 w 356"/>
              <a:gd name="T61" fmla="*/ 78 h 236"/>
              <a:gd name="T62" fmla="*/ 226 w 356"/>
              <a:gd name="T63" fmla="*/ 79 h 236"/>
              <a:gd name="T64" fmla="*/ 214 w 356"/>
              <a:gd name="T65" fmla="*/ 80 h 236"/>
              <a:gd name="T66" fmla="*/ 210 w 356"/>
              <a:gd name="T67" fmla="*/ 69 h 236"/>
              <a:gd name="T68" fmla="*/ 151 w 356"/>
              <a:gd name="T69" fmla="*/ 31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56" h="236">
                <a:moveTo>
                  <a:pt x="304" y="236"/>
                </a:moveTo>
                <a:cubicBezTo>
                  <a:pt x="302" y="236"/>
                  <a:pt x="297" y="236"/>
                  <a:pt x="297" y="236"/>
                </a:cubicBezTo>
                <a:cubicBezTo>
                  <a:pt x="56" y="236"/>
                  <a:pt x="56" y="236"/>
                  <a:pt x="56" y="236"/>
                </a:cubicBezTo>
                <a:cubicBezTo>
                  <a:pt x="25" y="236"/>
                  <a:pt x="0" y="214"/>
                  <a:pt x="0" y="186"/>
                </a:cubicBezTo>
                <a:cubicBezTo>
                  <a:pt x="0" y="182"/>
                  <a:pt x="0" y="182"/>
                  <a:pt x="0" y="182"/>
                </a:cubicBezTo>
                <a:cubicBezTo>
                  <a:pt x="0" y="141"/>
                  <a:pt x="22" y="105"/>
                  <a:pt x="57" y="88"/>
                </a:cubicBezTo>
                <a:cubicBezTo>
                  <a:pt x="60" y="39"/>
                  <a:pt x="101" y="0"/>
                  <a:pt x="151" y="0"/>
                </a:cubicBezTo>
                <a:cubicBezTo>
                  <a:pt x="185" y="0"/>
                  <a:pt x="216" y="18"/>
                  <a:pt x="233" y="47"/>
                </a:cubicBezTo>
                <a:cubicBezTo>
                  <a:pt x="279" y="47"/>
                  <a:pt x="318" y="85"/>
                  <a:pt x="322" y="132"/>
                </a:cubicBezTo>
                <a:cubicBezTo>
                  <a:pt x="342" y="140"/>
                  <a:pt x="356" y="160"/>
                  <a:pt x="356" y="183"/>
                </a:cubicBezTo>
                <a:cubicBezTo>
                  <a:pt x="356" y="183"/>
                  <a:pt x="356" y="184"/>
                  <a:pt x="356" y="185"/>
                </a:cubicBezTo>
                <a:cubicBezTo>
                  <a:pt x="356" y="185"/>
                  <a:pt x="356" y="186"/>
                  <a:pt x="356" y="186"/>
                </a:cubicBezTo>
                <a:cubicBezTo>
                  <a:pt x="356" y="197"/>
                  <a:pt x="352" y="207"/>
                  <a:pt x="346" y="215"/>
                </a:cubicBezTo>
                <a:cubicBezTo>
                  <a:pt x="336" y="229"/>
                  <a:pt x="321" y="236"/>
                  <a:pt x="304" y="236"/>
                </a:cubicBezTo>
                <a:close/>
                <a:moveTo>
                  <a:pt x="151" y="31"/>
                </a:moveTo>
                <a:cubicBezTo>
                  <a:pt x="116" y="31"/>
                  <a:pt x="88" y="59"/>
                  <a:pt x="88" y="94"/>
                </a:cubicBezTo>
                <a:cubicBezTo>
                  <a:pt x="88" y="95"/>
                  <a:pt x="88" y="96"/>
                  <a:pt x="88" y="96"/>
                </a:cubicBezTo>
                <a:cubicBezTo>
                  <a:pt x="88" y="109"/>
                  <a:pt x="88" y="109"/>
                  <a:pt x="88" y="109"/>
                </a:cubicBezTo>
                <a:cubicBezTo>
                  <a:pt x="77" y="113"/>
                  <a:pt x="77" y="113"/>
                  <a:pt x="77" y="113"/>
                </a:cubicBezTo>
                <a:cubicBezTo>
                  <a:pt x="49" y="123"/>
                  <a:pt x="31" y="150"/>
                  <a:pt x="31" y="182"/>
                </a:cubicBezTo>
                <a:cubicBezTo>
                  <a:pt x="31" y="186"/>
                  <a:pt x="31" y="186"/>
                  <a:pt x="31" y="186"/>
                </a:cubicBezTo>
                <a:cubicBezTo>
                  <a:pt x="31" y="197"/>
                  <a:pt x="42" y="205"/>
                  <a:pt x="56" y="205"/>
                </a:cubicBezTo>
                <a:cubicBezTo>
                  <a:pt x="300" y="205"/>
                  <a:pt x="300" y="205"/>
                  <a:pt x="300" y="205"/>
                </a:cubicBezTo>
                <a:cubicBezTo>
                  <a:pt x="300" y="205"/>
                  <a:pt x="313" y="204"/>
                  <a:pt x="317" y="202"/>
                </a:cubicBezTo>
                <a:cubicBezTo>
                  <a:pt x="323" y="199"/>
                  <a:pt x="325" y="191"/>
                  <a:pt x="325" y="187"/>
                </a:cubicBezTo>
                <a:cubicBezTo>
                  <a:pt x="325" y="183"/>
                  <a:pt x="325" y="183"/>
                  <a:pt x="325" y="183"/>
                </a:cubicBezTo>
                <a:cubicBezTo>
                  <a:pt x="325" y="171"/>
                  <a:pt x="317" y="161"/>
                  <a:pt x="306" y="160"/>
                </a:cubicBezTo>
                <a:cubicBezTo>
                  <a:pt x="287" y="159"/>
                  <a:pt x="287" y="159"/>
                  <a:pt x="287" y="159"/>
                </a:cubicBezTo>
                <a:cubicBezTo>
                  <a:pt x="292" y="141"/>
                  <a:pt x="292" y="141"/>
                  <a:pt x="292" y="141"/>
                </a:cubicBezTo>
                <a:cubicBezTo>
                  <a:pt x="292" y="141"/>
                  <a:pt x="292" y="140"/>
                  <a:pt x="292" y="140"/>
                </a:cubicBezTo>
                <a:cubicBezTo>
                  <a:pt x="291" y="106"/>
                  <a:pt x="265" y="78"/>
                  <a:pt x="233" y="78"/>
                </a:cubicBezTo>
                <a:cubicBezTo>
                  <a:pt x="231" y="78"/>
                  <a:pt x="228" y="78"/>
                  <a:pt x="226" y="79"/>
                </a:cubicBezTo>
                <a:cubicBezTo>
                  <a:pt x="214" y="80"/>
                  <a:pt x="214" y="80"/>
                  <a:pt x="214" y="80"/>
                </a:cubicBezTo>
                <a:cubicBezTo>
                  <a:pt x="210" y="69"/>
                  <a:pt x="210" y="69"/>
                  <a:pt x="210" y="69"/>
                </a:cubicBezTo>
                <a:cubicBezTo>
                  <a:pt x="200" y="46"/>
                  <a:pt x="177" y="31"/>
                  <a:pt x="151" y="31"/>
                </a:cubicBezTo>
                <a:close/>
              </a:path>
            </a:pathLst>
          </a:custGeom>
          <a:solidFill>
            <a:srgbClr val="4242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90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ＭＳ ゴシック" panose="020B0609070205080204" pitchFamily="49" charset="-128"/>
              <a:ea typeface="ＭＳ ゴシック" panose="020B0609070205080204" pitchFamily="49" charset="-128"/>
              <a:cs typeface="Arial" charset="0"/>
            </a:endParaRPr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BB763DAC-0495-4788-8097-163B282E0C69}"/>
              </a:ext>
            </a:extLst>
          </p:cNvPr>
          <p:cNvSpPr/>
          <p:nvPr/>
        </p:nvSpPr>
        <p:spPr>
          <a:xfrm>
            <a:off x="6430423" y="2439178"/>
            <a:ext cx="1918244" cy="287498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wrap="square" lIns="36000" tIns="36000" rIns="36000" bIns="36000" rtlCol="0" anchor="ctr"/>
          <a:lstStyle/>
          <a:p>
            <a:pPr marR="0" lvl="0" defTabSz="81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 sz="800" b="1" kern="0" dirty="0">
                <a:solidFill>
                  <a:srgbClr val="00314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※</a:t>
            </a:r>
            <a:r>
              <a:rPr kumimoji="1" lang="ja-JP" altLang="en-US" sz="800" b="1" kern="0" dirty="0">
                <a:solidFill>
                  <a:srgbClr val="003144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寝ていないね、ということはスルー願います</a:t>
            </a:r>
            <a:endParaRPr kumimoji="1" lang="ja-JP" altLang="en-US" sz="800" b="1" i="0" u="none" strike="noStrike" kern="0" cap="none" spc="0" normalizeH="0" baseline="0" noProof="0" dirty="0">
              <a:ln>
                <a:noFill/>
              </a:ln>
              <a:solidFill>
                <a:srgbClr val="003144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13E0CE89-A158-4A08-B99A-1796BCB1DC6C}"/>
              </a:ext>
            </a:extLst>
          </p:cNvPr>
          <p:cNvSpPr/>
          <p:nvPr/>
        </p:nvSpPr>
        <p:spPr>
          <a:xfrm>
            <a:off x="1743493" y="2290176"/>
            <a:ext cx="1918244" cy="287498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wrap="square" lIns="36000" tIns="36000" rIns="36000" bIns="36000" rtlCol="0" anchor="ctr"/>
          <a:lstStyle/>
          <a:p>
            <a:pPr marR="0" lvl="0" defTabSz="81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 sz="800" b="1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※</a:t>
            </a:r>
            <a:r>
              <a:rPr kumimoji="1" lang="ja-JP" altLang="en-US" sz="800" b="1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パパだけどね、ということはスルー願います</a:t>
            </a:r>
            <a:endParaRPr kumimoji="1" lang="ja-JP" altLang="en-US" sz="8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4" name="Title 5">
            <a:extLst>
              <a:ext uri="{FF2B5EF4-FFF2-40B4-BE49-F238E27FC236}">
                <a16:creationId xmlns:a16="http://schemas.microsoft.com/office/drawing/2014/main" id="{8C676DFE-3207-44ED-993B-1BE42DEA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851" y="152787"/>
            <a:ext cx="6600825" cy="881063"/>
          </a:xfrm>
        </p:spPr>
        <p:txBody>
          <a:bodyPr/>
          <a:lstStyle/>
          <a:p>
            <a:r>
              <a:rPr lang="en-US" altLang="ja-JP" sz="2000" dirty="0">
                <a:solidFill>
                  <a:srgbClr val="000000"/>
                </a:solidFill>
              </a:rPr>
              <a:t>1. Alexa</a:t>
            </a:r>
            <a:r>
              <a:rPr lang="ja-JP" altLang="en-US" sz="2000" dirty="0">
                <a:solidFill>
                  <a:srgbClr val="000000"/>
                </a:solidFill>
              </a:rPr>
              <a:t>とは</a:t>
            </a:r>
            <a:br>
              <a:rPr lang="en-US" altLang="ja-JP" sz="2000" dirty="0"/>
            </a:br>
            <a:r>
              <a:rPr lang="ja-JP" altLang="en-US" sz="2000" dirty="0"/>
              <a:t>　　　</a:t>
            </a:r>
            <a:r>
              <a:rPr lang="ja-JP" altLang="en-US" sz="1800" dirty="0"/>
              <a:t>～</a:t>
            </a:r>
            <a:r>
              <a:rPr lang="en-US" altLang="ja-JP" sz="1800" dirty="0">
                <a:solidFill>
                  <a:srgbClr val="000000"/>
                </a:solidFill>
              </a:rPr>
              <a:t> Alexa</a:t>
            </a:r>
            <a:r>
              <a:rPr lang="ja-JP" altLang="en-US" sz="1800" dirty="0">
                <a:solidFill>
                  <a:srgbClr val="000000"/>
                </a:solidFill>
              </a:rPr>
              <a:t>における</a:t>
            </a:r>
            <a:r>
              <a:rPr lang="en-US" altLang="ja-JP" sz="1800" dirty="0">
                <a:solidFill>
                  <a:srgbClr val="000000"/>
                </a:solidFill>
              </a:rPr>
              <a:t>”</a:t>
            </a:r>
            <a:r>
              <a:rPr lang="ja-JP" altLang="en-US" sz="1800" dirty="0"/>
              <a:t>スキル</a:t>
            </a:r>
            <a:r>
              <a:rPr lang="en-US" altLang="ja-JP" sz="1800" dirty="0"/>
              <a:t>”</a:t>
            </a:r>
            <a:r>
              <a:rPr lang="ja-JP" altLang="en-US" sz="1800" dirty="0"/>
              <a:t>～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9655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6C938BFB-96A0-48C6-A1E8-DEA33C66EC81}"/>
              </a:ext>
            </a:extLst>
          </p:cNvPr>
          <p:cNvSpPr/>
          <p:nvPr/>
        </p:nvSpPr>
        <p:spPr>
          <a:xfrm>
            <a:off x="488504" y="2924944"/>
            <a:ext cx="8928992" cy="725776"/>
          </a:xfrm>
          <a:prstGeom prst="rect">
            <a:avLst/>
          </a:prstGeom>
          <a:solidFill>
            <a:srgbClr val="003144"/>
          </a:solidFill>
          <a:ln w="38100">
            <a:noFill/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lvl="0" algn="ctr" eaLnBrk="0" hangingPunct="0">
              <a:spcBef>
                <a:spcPts val="600"/>
              </a:spcBef>
              <a:defRPr/>
            </a:pPr>
            <a:r>
              <a:rPr lang="en-US" altLang="ja-JP" sz="2400" dirty="0">
                <a:solidFill>
                  <a:prstClr val="white"/>
                </a:solidFill>
                <a:latin typeface="Meiryo UI"/>
              </a:rPr>
              <a:t>2.</a:t>
            </a:r>
            <a:r>
              <a:rPr lang="ja-JP" altLang="en-US" sz="2400" dirty="0">
                <a:solidFill>
                  <a:prstClr val="white"/>
                </a:solidFill>
                <a:latin typeface="Meiryo UI"/>
              </a:rPr>
              <a:t> 成果物紹介</a:t>
            </a:r>
          </a:p>
        </p:txBody>
      </p:sp>
    </p:spTree>
    <p:extLst>
      <p:ext uri="{BB962C8B-B14F-4D97-AF65-F5344CB8AC3E}">
        <p14:creationId xmlns:p14="http://schemas.microsoft.com/office/powerpoint/2010/main" val="79328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スクリーンショットの画面&#10;&#10;自動的に生成された説明">
            <a:extLst>
              <a:ext uri="{FF2B5EF4-FFF2-40B4-BE49-F238E27FC236}">
                <a16:creationId xmlns:a16="http://schemas.microsoft.com/office/drawing/2014/main" id="{339B16C7-7F2F-42B2-B96A-9D3DEB0CCB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87" r="6857" b="904"/>
          <a:stretch/>
        </p:blipFill>
        <p:spPr>
          <a:xfrm>
            <a:off x="2911126" y="1320510"/>
            <a:ext cx="6970563" cy="54704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1B4680FE-6939-449E-BFD1-21C68BE023ED}"/>
              </a:ext>
            </a:extLst>
          </p:cNvPr>
          <p:cNvSpPr/>
          <p:nvPr/>
        </p:nvSpPr>
        <p:spPr>
          <a:xfrm>
            <a:off x="4735473" y="2609389"/>
            <a:ext cx="1733685" cy="113066"/>
          </a:xfrm>
          <a:prstGeom prst="rect">
            <a:avLst/>
          </a:prstGeom>
          <a:solidFill>
            <a:schemeClr val="accent4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180975" algn="l"/>
              </a:tabLst>
              <a:defRPr/>
            </a:pPr>
            <a:endParaRPr kumimoji="1" lang="ja-JP" altLang="en-US" sz="1200" b="0" i="0" u="none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E1A418B-85CE-467F-8BA8-0342CC296B35}"/>
              </a:ext>
            </a:extLst>
          </p:cNvPr>
          <p:cNvSpPr/>
          <p:nvPr/>
        </p:nvSpPr>
        <p:spPr>
          <a:xfrm>
            <a:off x="4735472" y="4505106"/>
            <a:ext cx="3972959" cy="1705456"/>
          </a:xfrm>
          <a:prstGeom prst="rect">
            <a:avLst/>
          </a:prstGeom>
          <a:solidFill>
            <a:schemeClr val="accent4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180975" algn="l"/>
              </a:tabLst>
              <a:defRPr/>
            </a:pPr>
            <a:endParaRPr kumimoji="1" lang="ja-JP" altLang="en-US" sz="1200" b="0" i="0" u="none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DC7DE52B-3F14-4FEE-A94C-0022554E5856}"/>
              </a:ext>
            </a:extLst>
          </p:cNvPr>
          <p:cNvGrpSpPr/>
          <p:nvPr/>
        </p:nvGrpSpPr>
        <p:grpSpPr>
          <a:xfrm>
            <a:off x="2911126" y="1741413"/>
            <a:ext cx="1437453" cy="1365977"/>
            <a:chOff x="3018844" y="1652483"/>
            <a:chExt cx="1437453" cy="1365977"/>
          </a:xfrm>
        </p:grpSpPr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57F1A54C-DD03-4746-A11B-7F94B0ACF6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018844" y="1652483"/>
              <a:ext cx="1437453" cy="1365977"/>
            </a:xfrm>
            <a:prstGeom prst="rect">
              <a:avLst/>
            </a:prstGeom>
          </p:spPr>
        </p:pic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E4B0BCCB-C9BB-4F32-88A1-0F316B8F47E9}"/>
                </a:ext>
              </a:extLst>
            </p:cNvPr>
            <p:cNvSpPr/>
            <p:nvPr/>
          </p:nvSpPr>
          <p:spPr>
            <a:xfrm>
              <a:off x="3313222" y="2105624"/>
              <a:ext cx="979909" cy="188444"/>
            </a:xfrm>
            <a:prstGeom prst="rect">
              <a:avLst/>
            </a:prstGeom>
            <a:solidFill>
              <a:schemeClr val="accent4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180975" algn="l"/>
                </a:tabLst>
                <a:defRPr/>
              </a:pPr>
              <a:endParaRPr kumimoji="1" lang="ja-JP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0FF99175-AAA6-4732-83AC-A5F909402437}"/>
                </a:ext>
              </a:extLst>
            </p:cNvPr>
            <p:cNvSpPr/>
            <p:nvPr/>
          </p:nvSpPr>
          <p:spPr>
            <a:xfrm>
              <a:off x="3313222" y="2558765"/>
              <a:ext cx="1092975" cy="188444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>
                  <a:tab pos="180975" algn="l"/>
                </a:tabLst>
                <a:defRPr/>
              </a:pPr>
              <a:endParaRPr kumimoji="1" lang="ja-JP" alt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11" name="吹き出し: 角を丸めた四角形 10">
            <a:extLst>
              <a:ext uri="{FF2B5EF4-FFF2-40B4-BE49-F238E27FC236}">
                <a16:creationId xmlns:a16="http://schemas.microsoft.com/office/drawing/2014/main" id="{EBBC9CC8-AB95-4DF8-B7D9-036F6F3E0B66}"/>
              </a:ext>
            </a:extLst>
          </p:cNvPr>
          <p:cNvSpPr/>
          <p:nvPr/>
        </p:nvSpPr>
        <p:spPr>
          <a:xfrm>
            <a:off x="250456" y="3335570"/>
            <a:ext cx="4386908" cy="2621104"/>
          </a:xfrm>
          <a:prstGeom prst="wedgeRoundRectCallout">
            <a:avLst>
              <a:gd name="adj1" fmla="val 54026"/>
              <a:gd name="adj2" fmla="val 28151"/>
              <a:gd name="adj3" fmla="val 16667"/>
            </a:avLst>
          </a:prstGeom>
          <a:solidFill>
            <a:srgbClr val="003144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おじさんに「何してるの」と聞くと、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DISPLAY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文の中からランダムで返答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pic>
        <p:nvPicPr>
          <p:cNvPr id="12" name="図 11" descr="スクリーンショットの画面&#10;&#10;自動的に生成された説明">
            <a:extLst>
              <a:ext uri="{FF2B5EF4-FFF2-40B4-BE49-F238E27FC236}">
                <a16:creationId xmlns:a16="http://schemas.microsoft.com/office/drawing/2014/main" id="{069A57D4-2693-4E32-9D93-1AC7402C090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23" t="42496" r="54205"/>
          <a:stretch/>
        </p:blipFill>
        <p:spPr>
          <a:xfrm>
            <a:off x="350125" y="4094422"/>
            <a:ext cx="4219244" cy="1610657"/>
          </a:xfrm>
          <a:prstGeom prst="rect">
            <a:avLst/>
          </a:prstGeom>
        </p:spPr>
      </p:pic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F3AED1CD-1311-43D4-957C-4537AFE77B9F}"/>
              </a:ext>
            </a:extLst>
          </p:cNvPr>
          <p:cNvSpPr/>
          <p:nvPr/>
        </p:nvSpPr>
        <p:spPr>
          <a:xfrm>
            <a:off x="201659" y="845337"/>
            <a:ext cx="650501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Lambda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（</a:t>
            </a: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index.js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）から</a:t>
            </a: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COBOL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（</a:t>
            </a:r>
            <a:r>
              <a:rPr kumimoji="0" lang="en-US" altLang="ja-JP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serverless.cbl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）を呼び出し、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COBOL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の</a:t>
            </a: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DISPLAY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に記載されている文言を用いて、レスポンスを返します。</a:t>
            </a:r>
          </a:p>
        </p:txBody>
      </p:sp>
      <p:sp>
        <p:nvSpPr>
          <p:cNvPr id="23" name="Title 5">
            <a:extLst>
              <a:ext uri="{FF2B5EF4-FFF2-40B4-BE49-F238E27FC236}">
                <a16:creationId xmlns:a16="http://schemas.microsoft.com/office/drawing/2014/main" id="{CF54599F-5CAF-4E15-8EAA-DDF1262F8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690" y="260648"/>
            <a:ext cx="6600275" cy="643633"/>
          </a:xfrm>
        </p:spPr>
        <p:txBody>
          <a:bodyPr/>
          <a:lstStyle/>
          <a:p>
            <a:r>
              <a:rPr lang="ja-JP" altLang="en-US" sz="2000" dirty="0">
                <a:solidFill>
                  <a:srgbClr val="000000"/>
                </a:solidFill>
              </a:rPr>
              <a:t>２</a:t>
            </a:r>
            <a:r>
              <a:rPr lang="en-US" altLang="ja-JP" sz="2000" dirty="0">
                <a:solidFill>
                  <a:srgbClr val="000000"/>
                </a:solidFill>
              </a:rPr>
              <a:t>.</a:t>
            </a:r>
            <a:r>
              <a:rPr lang="ja-JP" altLang="en-US" sz="2000" dirty="0">
                <a:solidFill>
                  <a:srgbClr val="000000"/>
                </a:solidFill>
              </a:rPr>
              <a:t>成果物紹介</a:t>
            </a:r>
            <a:br>
              <a:rPr lang="en-US" altLang="ja-JP" sz="2000" dirty="0"/>
            </a:br>
            <a:r>
              <a:rPr lang="ja-JP" altLang="en-US" sz="2000" dirty="0"/>
              <a:t>　　　</a:t>
            </a:r>
            <a:r>
              <a:rPr lang="ja-JP" altLang="en-US" sz="1800" dirty="0"/>
              <a:t>～</a:t>
            </a:r>
            <a:r>
              <a:rPr lang="en-US" altLang="ja-JP" sz="1800" dirty="0">
                <a:solidFill>
                  <a:srgbClr val="000000"/>
                </a:solidFill>
              </a:rPr>
              <a:t> COBOL</a:t>
            </a:r>
            <a:r>
              <a:rPr lang="ja-JP" altLang="en-US" sz="1800" dirty="0">
                <a:solidFill>
                  <a:srgbClr val="000000"/>
                </a:solidFill>
              </a:rPr>
              <a:t>使用箇所</a:t>
            </a:r>
            <a:r>
              <a:rPr lang="ja-JP" altLang="en-US" sz="1800" dirty="0"/>
              <a:t>～</a:t>
            </a:r>
            <a:endParaRPr lang="en-US" sz="1800" dirty="0"/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3ACB146A-E8F6-48C8-80DA-B24B347F4BE6}"/>
              </a:ext>
            </a:extLst>
          </p:cNvPr>
          <p:cNvSpPr/>
          <p:nvPr/>
        </p:nvSpPr>
        <p:spPr>
          <a:xfrm>
            <a:off x="1350935" y="4931554"/>
            <a:ext cx="3168334" cy="59519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180975" algn="l"/>
              </a:tabLst>
              <a:defRPr/>
            </a:pPr>
            <a:endParaRPr kumimoji="1" lang="ja-JP" altLang="en-US" sz="1200" b="0" i="0" u="none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763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>
            <a:extLst>
              <a:ext uri="{FF2B5EF4-FFF2-40B4-BE49-F238E27FC236}">
                <a16:creationId xmlns:a16="http://schemas.microsoft.com/office/drawing/2014/main" id="{CD0934EC-405D-4514-9475-0BB28B201A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759"/>
          <a:stretch/>
        </p:blipFill>
        <p:spPr>
          <a:xfrm>
            <a:off x="107999" y="1005840"/>
            <a:ext cx="9680894" cy="50591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図 8" descr="挿絵 が含まれている画像&#10;&#10;自動的に生成された説明">
            <a:extLst>
              <a:ext uri="{FF2B5EF4-FFF2-40B4-BE49-F238E27FC236}">
                <a16:creationId xmlns:a16="http://schemas.microsoft.com/office/drawing/2014/main" id="{D27A74E3-69B0-4A49-8B20-2B5E493C6DE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938" y="5321013"/>
            <a:ext cx="1008112" cy="12702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F9BC83B6-7C0E-4622-8A85-C843933DA133}"/>
              </a:ext>
            </a:extLst>
          </p:cNvPr>
          <p:cNvSpPr txBox="1">
            <a:spLocks/>
          </p:cNvSpPr>
          <p:nvPr/>
        </p:nvSpPr>
        <p:spPr>
          <a:xfrm>
            <a:off x="187490" y="259656"/>
            <a:ext cx="6600275" cy="6436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rtl="0" eaLnBrk="1" fontAlgn="base" hangingPunct="1">
              <a:spcBef>
                <a:spcPts val="0"/>
              </a:spcBef>
              <a:spcAft>
                <a:spcPts val="0"/>
              </a:spcAft>
              <a:defRPr kumimoji="1" lang="en-GB" altLang="en-US" sz="2600" b="1" kern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5pPr>
            <a:lvl6pPr marL="495273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6pPr>
            <a:lvl7pPr marL="990546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7pPr>
            <a:lvl8pPr marL="1485818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8pPr>
            <a:lvl9pPr marL="1981089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２</a:t>
            </a: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.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成果物紹介</a:t>
            </a:r>
            <a:b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</a:b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　　　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～</a:t>
            </a: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 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実行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～</a:t>
            </a:r>
            <a:endParaRPr kumimoji="1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5" name="思考の吹き出し: 雲形 14">
            <a:extLst>
              <a:ext uri="{FF2B5EF4-FFF2-40B4-BE49-F238E27FC236}">
                <a16:creationId xmlns:a16="http://schemas.microsoft.com/office/drawing/2014/main" id="{7CED046E-297C-424F-A060-E48139DF4BC5}"/>
              </a:ext>
            </a:extLst>
          </p:cNvPr>
          <p:cNvSpPr/>
          <p:nvPr/>
        </p:nvSpPr>
        <p:spPr>
          <a:xfrm>
            <a:off x="1546458" y="1457803"/>
            <a:ext cx="2288791" cy="841233"/>
          </a:xfrm>
          <a:prstGeom prst="cloudCallout">
            <a:avLst>
              <a:gd name="adj1" fmla="val -21647"/>
              <a:gd name="adj2" fmla="val 116963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180975" algn="l"/>
              </a:tabLst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おじさん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(Alexa)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を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180975" algn="l"/>
              </a:tabLst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呼び出すスキル名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6" name="思考の吹き出し: 雲形 15">
            <a:extLst>
              <a:ext uri="{FF2B5EF4-FFF2-40B4-BE49-F238E27FC236}">
                <a16:creationId xmlns:a16="http://schemas.microsoft.com/office/drawing/2014/main" id="{FC6C5DF3-B4FB-4673-8C46-71634113094D}"/>
              </a:ext>
            </a:extLst>
          </p:cNvPr>
          <p:cNvSpPr/>
          <p:nvPr/>
        </p:nvSpPr>
        <p:spPr>
          <a:xfrm>
            <a:off x="1970645" y="4594786"/>
            <a:ext cx="2422388" cy="644561"/>
          </a:xfrm>
          <a:prstGeom prst="cloudCallout">
            <a:avLst>
              <a:gd name="adj1" fmla="val -36012"/>
              <a:gd name="adj2" fmla="val -104862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180975" algn="l"/>
              </a:tabLst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おじさん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(Alexa)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に質問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7" name="思考の吹き出し: 雲形 16">
            <a:extLst>
              <a:ext uri="{FF2B5EF4-FFF2-40B4-BE49-F238E27FC236}">
                <a16:creationId xmlns:a16="http://schemas.microsoft.com/office/drawing/2014/main" id="{2E8A4BEB-B266-4037-8201-2A2CD16D5360}"/>
              </a:ext>
            </a:extLst>
          </p:cNvPr>
          <p:cNvSpPr/>
          <p:nvPr/>
        </p:nvSpPr>
        <p:spPr>
          <a:xfrm>
            <a:off x="0" y="2216740"/>
            <a:ext cx="1748149" cy="841233"/>
          </a:xfrm>
          <a:prstGeom prst="cloudCallout">
            <a:avLst>
              <a:gd name="adj1" fmla="val 8147"/>
              <a:gd name="adj2" fmla="val 79778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スキルへの返答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8" name="思考の吹き出し: 雲形 17">
            <a:extLst>
              <a:ext uri="{FF2B5EF4-FFF2-40B4-BE49-F238E27FC236}">
                <a16:creationId xmlns:a16="http://schemas.microsoft.com/office/drawing/2014/main" id="{E9CAFDAB-3231-4153-8C49-C16A1E52A0DF}"/>
              </a:ext>
            </a:extLst>
          </p:cNvPr>
          <p:cNvSpPr/>
          <p:nvPr/>
        </p:nvSpPr>
        <p:spPr>
          <a:xfrm>
            <a:off x="107999" y="5467365"/>
            <a:ext cx="3281764" cy="841233"/>
          </a:xfrm>
          <a:prstGeom prst="cloudCallout">
            <a:avLst>
              <a:gd name="adj1" fmla="val -17216"/>
              <a:gd name="adj2" fmla="val -132354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COBOL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文から選定された内容をおじさん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(Alexa)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を通して返す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5961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6C938BFB-96A0-48C6-A1E8-DEA33C66EC81}"/>
              </a:ext>
            </a:extLst>
          </p:cNvPr>
          <p:cNvSpPr/>
          <p:nvPr/>
        </p:nvSpPr>
        <p:spPr>
          <a:xfrm>
            <a:off x="488504" y="2924944"/>
            <a:ext cx="8928992" cy="725776"/>
          </a:xfrm>
          <a:prstGeom prst="rect">
            <a:avLst/>
          </a:prstGeom>
          <a:solidFill>
            <a:srgbClr val="003144"/>
          </a:solidFill>
          <a:ln w="38100">
            <a:noFill/>
            <a:miter lim="800000"/>
            <a:headEnd/>
            <a:tailEnd/>
          </a:ln>
          <a:effectLst/>
        </p:spPr>
        <p:txBody>
          <a:bodyPr lIns="36000" tIns="36000" rIns="36000" bIns="36000" anchor="ctr" anchorCtr="0"/>
          <a:lstStyle/>
          <a:p>
            <a:pPr lvl="0" algn="ctr" eaLnBrk="0" hangingPunct="0">
              <a:spcBef>
                <a:spcPts val="600"/>
              </a:spcBef>
              <a:defRPr/>
            </a:pPr>
            <a:r>
              <a:rPr lang="en-US" altLang="ja-JP" sz="2400" dirty="0">
                <a:solidFill>
                  <a:prstClr val="white"/>
                </a:solidFill>
                <a:latin typeface="Meiryo UI"/>
              </a:rPr>
              <a:t>3.</a:t>
            </a:r>
            <a:r>
              <a:rPr lang="ja-JP" altLang="en-US" sz="2400" dirty="0">
                <a:solidFill>
                  <a:prstClr val="white"/>
                </a:solidFill>
                <a:latin typeface="Meiryo UI"/>
              </a:rPr>
              <a:t> まとめ</a:t>
            </a:r>
          </a:p>
        </p:txBody>
      </p:sp>
    </p:spTree>
    <p:extLst>
      <p:ext uri="{BB962C8B-B14F-4D97-AF65-F5344CB8AC3E}">
        <p14:creationId xmlns:p14="http://schemas.microsoft.com/office/powerpoint/2010/main" val="86927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>
              <a:ext uri="{FF2B5EF4-FFF2-40B4-BE49-F238E27FC236}">
                <a16:creationId xmlns:a16="http://schemas.microsoft.com/office/drawing/2014/main" id="{B633625D-62E5-4B4F-8CD1-6DF9F52A0D0F}"/>
              </a:ext>
            </a:extLst>
          </p:cNvPr>
          <p:cNvSpPr txBox="1">
            <a:spLocks/>
          </p:cNvSpPr>
          <p:nvPr/>
        </p:nvSpPr>
        <p:spPr>
          <a:xfrm>
            <a:off x="358639" y="1266908"/>
            <a:ext cx="9217024" cy="3240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vert="horz" lIns="0" tIns="0" rIns="0" bIns="0" rtlCol="0" anchor="b" anchorCtr="0">
            <a:noAutofit/>
          </a:bodyPr>
          <a:lstStyle>
            <a:lvl1pPr algn="l" rtl="0" eaLnBrk="1" fontAlgn="base" hangingPunct="1">
              <a:spcBef>
                <a:spcPts val="0"/>
              </a:spcBef>
              <a:spcAft>
                <a:spcPts val="0"/>
              </a:spcAft>
              <a:defRPr kumimoji="1" lang="en-GB" altLang="en-US" sz="2600" b="1" kern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5pPr>
            <a:lvl6pPr marL="495273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6pPr>
            <a:lvl7pPr marL="990546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7pPr>
            <a:lvl8pPr marL="1485818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8pPr>
            <a:lvl9pPr marL="1981089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今回は、</a:t>
            </a:r>
            <a:r>
              <a:rPr kumimoji="1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COBOL</a:t>
            </a: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を用いて</a:t>
            </a:r>
            <a:r>
              <a:rPr kumimoji="1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Alexa</a:t>
            </a: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サービス上で動作する</a:t>
            </a:r>
            <a:endParaRPr kumimoji="1" lang="en-US" altLang="ja-JP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「アプリ」を作成しました。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今はランダムに</a:t>
            </a:r>
            <a:r>
              <a:rPr kumimoji="1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DISPLAY</a:t>
            </a:r>
            <a:r>
              <a:rPr kumimoji="1" lang="ja-JP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結果が返ってくるだけですが、引数を渡し</a:t>
            </a:r>
            <a:r>
              <a:rPr kumimoji="1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COBOL</a:t>
            </a:r>
            <a:r>
              <a:rPr kumimoji="1" lang="ja-JP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で記述されたビジネスロジックの結果が</a:t>
            </a: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返却されるように</a:t>
            </a:r>
            <a:r>
              <a:rPr kumimoji="1" lang="ja-JP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改修</a:t>
            </a: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を行えば</a:t>
            </a:r>
            <a:r>
              <a:rPr kumimoji="1" lang="ja-JP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、</a:t>
            </a:r>
            <a:r>
              <a:rPr kumimoji="1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Legacy</a:t>
            </a:r>
            <a:r>
              <a:rPr kumimoji="1" lang="ja-JP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のプログラムを</a:t>
            </a:r>
            <a:r>
              <a:rPr kumimoji="1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VUI</a:t>
            </a:r>
            <a:r>
              <a:rPr kumimoji="1" lang="ja-JP" altLang="ja-JP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を通じてビジネスに活用できる可能性があ</a:t>
            </a:r>
            <a:r>
              <a:rPr kumimoji="1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rPr>
              <a:t>ると思います。</a:t>
            </a:r>
            <a:endParaRPr kumimoji="1" lang="ja-JP" altLang="ja-JP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pic>
        <p:nvPicPr>
          <p:cNvPr id="5" name="図 4" descr="挿絵 が含まれている画像&#10;&#10;自動的に生成された説明">
            <a:extLst>
              <a:ext uri="{FF2B5EF4-FFF2-40B4-BE49-F238E27FC236}">
                <a16:creationId xmlns:a16="http://schemas.microsoft.com/office/drawing/2014/main" id="{37666723-1AE4-4890-AF38-701A7BE297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384" y="5085184"/>
            <a:ext cx="1008112" cy="1270275"/>
          </a:xfrm>
          <a:prstGeom prst="rect">
            <a:avLst/>
          </a:prstGeom>
        </p:spPr>
      </p:pic>
      <p:sp>
        <p:nvSpPr>
          <p:cNvPr id="6" name="吹き出し: 角を丸めた四角形 5">
            <a:extLst>
              <a:ext uri="{FF2B5EF4-FFF2-40B4-BE49-F238E27FC236}">
                <a16:creationId xmlns:a16="http://schemas.microsoft.com/office/drawing/2014/main" id="{90589471-88B4-4331-9AFB-18F58D78C169}"/>
              </a:ext>
            </a:extLst>
          </p:cNvPr>
          <p:cNvSpPr/>
          <p:nvPr/>
        </p:nvSpPr>
        <p:spPr>
          <a:xfrm>
            <a:off x="5169025" y="4507268"/>
            <a:ext cx="3427234" cy="625414"/>
          </a:xfrm>
          <a:prstGeom prst="wedgeRoundRectCallout">
            <a:avLst>
              <a:gd name="adj1" fmla="val 33843"/>
              <a:gd name="adj2" fmla="val 97771"/>
              <a:gd name="adj3" fmla="val 16667"/>
            </a:avLst>
          </a:prstGeom>
          <a:solidFill>
            <a:srgbClr val="003144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もっと、</a:t>
            </a:r>
            <a:r>
              <a:rPr kumimoji="1" lang="en-US" altLang="ja-JP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COBOL</a:t>
            </a: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を活かすのだ</a:t>
            </a: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0B2F41BA-B77F-42DD-B2D1-925B00B7BE23}"/>
              </a:ext>
            </a:extLst>
          </p:cNvPr>
          <p:cNvSpPr txBox="1">
            <a:spLocks/>
          </p:cNvSpPr>
          <p:nvPr/>
        </p:nvSpPr>
        <p:spPr>
          <a:xfrm>
            <a:off x="86906" y="-15326"/>
            <a:ext cx="6600275" cy="881246"/>
          </a:xfrm>
          <a:prstGeom prst="rect">
            <a:avLst/>
          </a:prstGeom>
          <a:noFill/>
        </p:spPr>
        <p:txBody>
          <a:bodyPr vert="horz" lIns="180000" tIns="0" rIns="180000" bIns="0" rtlCol="0" anchor="ctr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kumimoji="1" lang="en-AU" sz="2491" b="1" i="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375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kumimoji="1" sz="3466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75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kumimoji="1" sz="3466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75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kumimoji="1" sz="3466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75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kumimoji="1" sz="3466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60131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kumimoji="1" sz="379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320263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kumimoji="1" sz="379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98039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kumimoji="1" sz="379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640523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kumimoji="1" sz="379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まとめ</a:t>
            </a:r>
            <a:endParaRPr kumimoji="1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8874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ODuZIoQK.hr2jMuwJy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r4ixuKRjGFD0LGT0M8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ODuZIoQK.hr2jMuwJy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r4ixuKRjGFD0LGT0M8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ODuZIoQK.hr2jMuwJy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ODuZIoQK.hr2jMuwJy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r4ixuKRjGFD0LGT0M89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ODuZIoQK.hr2jMuwJy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r4ixuKRjGFD0LGT0M8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r4ixuKRjGFD0LGT0M8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ODuZIoQK.hr2jMuwJy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r4ixuKRjGFD0LGT0M8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15-4053 Liquid Application Studio_16x9_v1.3">
  <a:themeElements>
    <a:clrScheme name="FIX2">
      <a:dk1>
        <a:srgbClr val="000000"/>
      </a:dk1>
      <a:lt1>
        <a:srgbClr val="FFFFFF"/>
      </a:lt1>
      <a:dk2>
        <a:srgbClr val="656665"/>
      </a:dk2>
      <a:lt2>
        <a:srgbClr val="768888"/>
      </a:lt2>
      <a:accent1>
        <a:srgbClr val="00A100"/>
      </a:accent1>
      <a:accent2>
        <a:srgbClr val="90D146"/>
      </a:accent2>
      <a:accent3>
        <a:srgbClr val="003244"/>
      </a:accent3>
      <a:accent4>
        <a:srgbClr val="19A2B4"/>
      </a:accent4>
      <a:accent5>
        <a:srgbClr val="DF4294"/>
      </a:accent5>
      <a:accent6>
        <a:srgbClr val="FF7A00"/>
      </a:accent6>
      <a:hlink>
        <a:srgbClr val="227FBB"/>
      </a:hlink>
      <a:folHlink>
        <a:srgbClr val="7F35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4" id="{4B9F0836-CCB5-4D9E-8FEC-BB6BE937FF83}" vid="{547C8DD2-B718-4028-8E68-75B43F28CB81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itle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Consulting_Template_Graphik_v2" id="{87785FBB-6C6F-4ABA-9385-4B790088FF91}" vid="{2C66BBE0-1FAC-42A1-BBF0-7C9FD88DBFA7}"/>
    </a:ext>
  </a:extLst>
</a:theme>
</file>

<file path=ppt/theme/theme3.xml><?xml version="1.0" encoding="utf-8"?>
<a:theme xmlns:a="http://schemas.openxmlformats.org/drawingml/2006/main" name="Acc_Strategy_template 4-3">
  <a:themeElements>
    <a:clrScheme name="FSテンプレート">
      <a:dk1>
        <a:sysClr val="windowText" lastClr="000000"/>
      </a:dk1>
      <a:lt1>
        <a:sysClr val="window" lastClr="FFFFFF"/>
      </a:lt1>
      <a:dk2>
        <a:srgbClr val="44546A"/>
      </a:dk2>
      <a:lt2>
        <a:srgbClr val="D9D9D9"/>
      </a:lt2>
      <a:accent1>
        <a:srgbClr val="460073"/>
      </a:accent1>
      <a:accent2>
        <a:srgbClr val="A100FF"/>
      </a:accent2>
      <a:accent3>
        <a:srgbClr val="008EFF"/>
      </a:accent3>
      <a:accent4>
        <a:srgbClr val="8BE1FF"/>
      </a:accent4>
      <a:accent5>
        <a:srgbClr val="5A5A5A"/>
      </a:accent5>
      <a:accent6>
        <a:srgbClr val="969696"/>
      </a:accent6>
      <a:hlink>
        <a:srgbClr val="0563C1"/>
      </a:hlink>
      <a:folHlink>
        <a:srgbClr val="954F72"/>
      </a:folHlink>
    </a:clrScheme>
    <a:fontScheme name="Meiryo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 cap="flat" cmpd="sng" algn="ctr">
          <a:solidFill>
            <a:srgbClr val="969696"/>
          </a:solidFill>
          <a:prstDash val="solid"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auto">
          <a:spcBef>
            <a:spcPts val="600"/>
          </a:spcBef>
          <a:spcAft>
            <a:spcPts val="0"/>
          </a:spcAft>
          <a:buClr>
            <a:prstClr val="black"/>
          </a:buClr>
          <a:tabLst>
            <a:tab pos="180975" algn="l"/>
          </a:tabLst>
          <a:defRPr kumimoji="1" sz="1200" kern="0" dirty="0" err="1" smtClean="0">
            <a:solidFill>
              <a:prstClr val="black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6000" tIns="36000" rIns="36000" bIns="36000" rtlCol="0">
        <a:noAutofit/>
      </a:bodyPr>
      <a:lstStyle>
        <a:defPPr algn="l">
          <a:defRPr kumimoji="1" sz="120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Acc_Strategy_template 4-3">
  <a:themeElements>
    <a:clrScheme name="FSテンプレート">
      <a:dk1>
        <a:sysClr val="windowText" lastClr="000000"/>
      </a:dk1>
      <a:lt1>
        <a:sysClr val="window" lastClr="FFFFFF"/>
      </a:lt1>
      <a:dk2>
        <a:srgbClr val="44546A"/>
      </a:dk2>
      <a:lt2>
        <a:srgbClr val="D9D9D9"/>
      </a:lt2>
      <a:accent1>
        <a:srgbClr val="460073"/>
      </a:accent1>
      <a:accent2>
        <a:srgbClr val="A100FF"/>
      </a:accent2>
      <a:accent3>
        <a:srgbClr val="008EFF"/>
      </a:accent3>
      <a:accent4>
        <a:srgbClr val="8BE1FF"/>
      </a:accent4>
      <a:accent5>
        <a:srgbClr val="5A5A5A"/>
      </a:accent5>
      <a:accent6>
        <a:srgbClr val="969696"/>
      </a:accent6>
      <a:hlink>
        <a:srgbClr val="0563C1"/>
      </a:hlink>
      <a:folHlink>
        <a:srgbClr val="954F72"/>
      </a:folHlink>
    </a:clrScheme>
    <a:fontScheme name="Meiryo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 cap="flat" cmpd="sng" algn="ctr">
          <a:solidFill>
            <a:srgbClr val="969696"/>
          </a:solidFill>
          <a:prstDash val="solid"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auto">
          <a:spcBef>
            <a:spcPts val="600"/>
          </a:spcBef>
          <a:spcAft>
            <a:spcPts val="0"/>
          </a:spcAft>
          <a:buClr>
            <a:prstClr val="black"/>
          </a:buClr>
          <a:tabLst>
            <a:tab pos="180975" algn="l"/>
          </a:tabLst>
          <a:defRPr kumimoji="1" sz="1200" kern="0" dirty="0" err="1" smtClean="0">
            <a:solidFill>
              <a:prstClr val="black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6000" tIns="36000" rIns="36000" bIns="36000" rtlCol="0">
        <a:noAutofit/>
      </a:bodyPr>
      <a:lstStyle>
        <a:defPPr algn="l">
          <a:defRPr kumimoji="1" sz="120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Acc_Strategy_template 4-3">
  <a:themeElements>
    <a:clrScheme name="FSテンプレート">
      <a:dk1>
        <a:sysClr val="windowText" lastClr="000000"/>
      </a:dk1>
      <a:lt1>
        <a:sysClr val="window" lastClr="FFFFFF"/>
      </a:lt1>
      <a:dk2>
        <a:srgbClr val="44546A"/>
      </a:dk2>
      <a:lt2>
        <a:srgbClr val="D9D9D9"/>
      </a:lt2>
      <a:accent1>
        <a:srgbClr val="460073"/>
      </a:accent1>
      <a:accent2>
        <a:srgbClr val="A100FF"/>
      </a:accent2>
      <a:accent3>
        <a:srgbClr val="008EFF"/>
      </a:accent3>
      <a:accent4>
        <a:srgbClr val="8BE1FF"/>
      </a:accent4>
      <a:accent5>
        <a:srgbClr val="5A5A5A"/>
      </a:accent5>
      <a:accent6>
        <a:srgbClr val="969696"/>
      </a:accent6>
      <a:hlink>
        <a:srgbClr val="0563C1"/>
      </a:hlink>
      <a:folHlink>
        <a:srgbClr val="954F72"/>
      </a:folHlink>
    </a:clrScheme>
    <a:fontScheme name="Meiryo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 cap="flat" cmpd="sng" algn="ctr">
          <a:solidFill>
            <a:srgbClr val="969696"/>
          </a:solidFill>
          <a:prstDash val="solid"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auto">
          <a:spcBef>
            <a:spcPts val="600"/>
          </a:spcBef>
          <a:spcAft>
            <a:spcPts val="0"/>
          </a:spcAft>
          <a:buClr>
            <a:prstClr val="black"/>
          </a:buClr>
          <a:tabLst>
            <a:tab pos="180975" algn="l"/>
          </a:tabLst>
          <a:defRPr kumimoji="1" sz="1200" kern="0" dirty="0" err="1" smtClean="0">
            <a:solidFill>
              <a:prstClr val="black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6000" tIns="36000" rIns="36000" bIns="36000" rtlCol="0">
        <a:noAutofit/>
      </a:bodyPr>
      <a:lstStyle>
        <a:defPPr algn="l">
          <a:defRPr kumimoji="1" sz="120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3_Acc_Strategy_template 4-3">
  <a:themeElements>
    <a:clrScheme name="FSテンプレート">
      <a:dk1>
        <a:sysClr val="windowText" lastClr="000000"/>
      </a:dk1>
      <a:lt1>
        <a:sysClr val="window" lastClr="FFFFFF"/>
      </a:lt1>
      <a:dk2>
        <a:srgbClr val="44546A"/>
      </a:dk2>
      <a:lt2>
        <a:srgbClr val="D9D9D9"/>
      </a:lt2>
      <a:accent1>
        <a:srgbClr val="460073"/>
      </a:accent1>
      <a:accent2>
        <a:srgbClr val="A100FF"/>
      </a:accent2>
      <a:accent3>
        <a:srgbClr val="008EFF"/>
      </a:accent3>
      <a:accent4>
        <a:srgbClr val="8BE1FF"/>
      </a:accent4>
      <a:accent5>
        <a:srgbClr val="5A5A5A"/>
      </a:accent5>
      <a:accent6>
        <a:srgbClr val="969696"/>
      </a:accent6>
      <a:hlink>
        <a:srgbClr val="0563C1"/>
      </a:hlink>
      <a:folHlink>
        <a:srgbClr val="954F72"/>
      </a:folHlink>
    </a:clrScheme>
    <a:fontScheme name="Meiryo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 cap="flat" cmpd="sng" algn="ctr">
          <a:solidFill>
            <a:srgbClr val="969696"/>
          </a:solidFill>
          <a:prstDash val="solid"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auto">
          <a:spcBef>
            <a:spcPts val="600"/>
          </a:spcBef>
          <a:spcAft>
            <a:spcPts val="0"/>
          </a:spcAft>
          <a:buClr>
            <a:prstClr val="black"/>
          </a:buClr>
          <a:tabLst>
            <a:tab pos="180975" algn="l"/>
          </a:tabLst>
          <a:defRPr kumimoji="1" sz="1200" kern="0" dirty="0" err="1" smtClean="0">
            <a:solidFill>
              <a:prstClr val="black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6000" tIns="36000" rIns="36000" bIns="36000" rtlCol="0">
        <a:noAutofit/>
      </a:bodyPr>
      <a:lstStyle>
        <a:defPPr algn="l">
          <a:defRPr kumimoji="1" sz="120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4_Acc_Strategy_template 4-3">
  <a:themeElements>
    <a:clrScheme name="FSテンプレート">
      <a:dk1>
        <a:sysClr val="windowText" lastClr="000000"/>
      </a:dk1>
      <a:lt1>
        <a:sysClr val="window" lastClr="FFFFFF"/>
      </a:lt1>
      <a:dk2>
        <a:srgbClr val="44546A"/>
      </a:dk2>
      <a:lt2>
        <a:srgbClr val="D9D9D9"/>
      </a:lt2>
      <a:accent1>
        <a:srgbClr val="460073"/>
      </a:accent1>
      <a:accent2>
        <a:srgbClr val="A100FF"/>
      </a:accent2>
      <a:accent3>
        <a:srgbClr val="008EFF"/>
      </a:accent3>
      <a:accent4>
        <a:srgbClr val="8BE1FF"/>
      </a:accent4>
      <a:accent5>
        <a:srgbClr val="5A5A5A"/>
      </a:accent5>
      <a:accent6>
        <a:srgbClr val="969696"/>
      </a:accent6>
      <a:hlink>
        <a:srgbClr val="0563C1"/>
      </a:hlink>
      <a:folHlink>
        <a:srgbClr val="954F72"/>
      </a:folHlink>
    </a:clrScheme>
    <a:fontScheme name="Meiryo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 cap="flat" cmpd="sng" algn="ctr">
          <a:solidFill>
            <a:srgbClr val="969696"/>
          </a:solidFill>
          <a:prstDash val="solid"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auto">
          <a:spcBef>
            <a:spcPts val="600"/>
          </a:spcBef>
          <a:spcAft>
            <a:spcPts val="0"/>
          </a:spcAft>
          <a:buClr>
            <a:prstClr val="black"/>
          </a:buClr>
          <a:tabLst>
            <a:tab pos="180975" algn="l"/>
          </a:tabLst>
          <a:defRPr kumimoji="1" sz="1200" kern="0" dirty="0" err="1" smtClean="0">
            <a:solidFill>
              <a:prstClr val="black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6000" tIns="36000" rIns="36000" bIns="36000" rtlCol="0">
        <a:noAutofit/>
      </a:bodyPr>
      <a:lstStyle>
        <a:defPPr algn="l">
          <a:defRPr kumimoji="1" sz="120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5_Acc_Strategy_template 4-3">
  <a:themeElements>
    <a:clrScheme name="FSテンプレート">
      <a:dk1>
        <a:sysClr val="windowText" lastClr="000000"/>
      </a:dk1>
      <a:lt1>
        <a:sysClr val="window" lastClr="FFFFFF"/>
      </a:lt1>
      <a:dk2>
        <a:srgbClr val="44546A"/>
      </a:dk2>
      <a:lt2>
        <a:srgbClr val="D9D9D9"/>
      </a:lt2>
      <a:accent1>
        <a:srgbClr val="460073"/>
      </a:accent1>
      <a:accent2>
        <a:srgbClr val="A100FF"/>
      </a:accent2>
      <a:accent3>
        <a:srgbClr val="008EFF"/>
      </a:accent3>
      <a:accent4>
        <a:srgbClr val="8BE1FF"/>
      </a:accent4>
      <a:accent5>
        <a:srgbClr val="5A5A5A"/>
      </a:accent5>
      <a:accent6>
        <a:srgbClr val="969696"/>
      </a:accent6>
      <a:hlink>
        <a:srgbClr val="0563C1"/>
      </a:hlink>
      <a:folHlink>
        <a:srgbClr val="954F72"/>
      </a:folHlink>
    </a:clrScheme>
    <a:fontScheme name="Meiryo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 cap="flat" cmpd="sng" algn="ctr">
          <a:solidFill>
            <a:srgbClr val="969696"/>
          </a:solidFill>
          <a:prstDash val="solid"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auto">
          <a:spcBef>
            <a:spcPts val="600"/>
          </a:spcBef>
          <a:spcAft>
            <a:spcPts val="0"/>
          </a:spcAft>
          <a:buClr>
            <a:prstClr val="black"/>
          </a:buClr>
          <a:tabLst>
            <a:tab pos="180975" algn="l"/>
          </a:tabLst>
          <a:defRPr kumimoji="1" sz="1200" kern="0" dirty="0" err="1" smtClean="0">
            <a:solidFill>
              <a:prstClr val="black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36000" tIns="36000" rIns="36000" bIns="36000" rtlCol="0">
        <a:noAutofit/>
      </a:bodyPr>
      <a:lstStyle>
        <a:defPPr algn="l">
          <a:defRPr kumimoji="1" sz="120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ListForm</Display>
  <Edit>ListForm</Edit>
  <New>List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Folder" ma:contentTypeID="0x012000922AB4476409B94990FD3054B911F074" ma:contentTypeVersion="0" ma:contentTypeDescription="Create a new folder." ma:contentTypeScope="" ma:versionID="8ad4ff8aa43cf5a4097664a49dba2d29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51014dae61cc99f9ffdb2503fba242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temChildCount" minOccurs="0"/>
                <xsd:element ref="ns1:FolderChild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temChildCount" ma:index="3" nillable="true" ma:displayName="Item Child Count" ma:hidden="true" ma:list="Docs" ma:internalName="ItemChildCount" ma:readOnly="true" ma:showField="ItemChildCount">
      <xsd:simpleType>
        <xsd:restriction base="dms:Lookup"/>
      </xsd:simpleType>
    </xsd:element>
    <xsd:element name="FolderChildCount" ma:index="4" nillable="true" ma:displayName="Folder Child Count" ma:hidden="true" ma:list="Docs" ma:internalName="FolderChildCount" ma:readOnly="true" ma:showField="FolderChildCount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2F8FF39-A5D2-4C20-89CA-E0BB61C09927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15C096B-AE51-4725-A128-BE433E3FCFF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DFABDCD-E4E2-42C9-B53C-D73240E808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54</TotalTime>
  <Words>427</Words>
  <Application>Microsoft Office PowerPoint</Application>
  <PresentationFormat>A4 210 x 297 mm</PresentationFormat>
  <Paragraphs>66</Paragraphs>
  <Slides>10</Slides>
  <Notes>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8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0</vt:i4>
      </vt:variant>
    </vt:vector>
  </HeadingPairs>
  <TitlesOfParts>
    <vt:vector size="26" baseType="lpstr">
      <vt:lpstr>Meiryo UI</vt:lpstr>
      <vt:lpstr>ＭＳ ゴシック</vt:lpstr>
      <vt:lpstr>Arial</vt:lpstr>
      <vt:lpstr>Graphik</vt:lpstr>
      <vt:lpstr>Graphik Black</vt:lpstr>
      <vt:lpstr>Tahoma</vt:lpstr>
      <vt:lpstr>Wingdings</vt:lpstr>
      <vt:lpstr>2_15-4053 Liquid Application Studio_16x9_v1.3</vt:lpstr>
      <vt:lpstr>Titles</vt:lpstr>
      <vt:lpstr>Acc_Strategy_template 4-3</vt:lpstr>
      <vt:lpstr>1_Acc_Strategy_template 4-3</vt:lpstr>
      <vt:lpstr>2_Acc_Strategy_template 4-3</vt:lpstr>
      <vt:lpstr>3_Acc_Strategy_template 4-3</vt:lpstr>
      <vt:lpstr>4_Acc_Strategy_template 4-3</vt:lpstr>
      <vt:lpstr>5_Acc_Strategy_template 4-3</vt:lpstr>
      <vt:lpstr>think-cell スライド</vt:lpstr>
      <vt:lpstr>PowerPoint プレゼンテーション</vt:lpstr>
      <vt:lpstr>PowerPoint プレゼンテーション</vt:lpstr>
      <vt:lpstr>1. Alexaとは</vt:lpstr>
      <vt:lpstr>1. Alexaとは 　　　～ Alexaにおける”スキル”～</vt:lpstr>
      <vt:lpstr>PowerPoint プレゼンテーション</vt:lpstr>
      <vt:lpstr>２.成果物紹介 　　　～ COBOL使用箇所～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ishio, Tomoyoshi</dc:creator>
  <cp:lastModifiedBy>Kawaguchi, Makiko</cp:lastModifiedBy>
  <cp:revision>1721</cp:revision>
  <cp:lastPrinted>2017-01-19T03:11:57Z</cp:lastPrinted>
  <dcterms:created xsi:type="dcterms:W3CDTF">2016-12-15T05:15:15Z</dcterms:created>
  <dcterms:modified xsi:type="dcterms:W3CDTF">2020-03-16T04:2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2000922AB4476409B94990FD3054B911F074</vt:lpwstr>
  </property>
  <property fmtid="{D5CDD505-2E9C-101B-9397-08002B2CF9AE}" pid="3" name="UserName">
    <vt:lpwstr>lpidcock</vt:lpwstr>
  </property>
  <property fmtid="{D5CDD505-2E9C-101B-9397-08002B2CF9AE}" pid="4" name="ComputerName">
    <vt:lpwstr>DLO0429</vt:lpwstr>
  </property>
  <property fmtid="{D5CDD505-2E9C-101B-9397-08002B2CF9AE}" pid="5" name="palette_size">
    <vt:lpwstr>6</vt:lpwstr>
  </property>
</Properties>
</file>